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37.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9.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41.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43.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45.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47.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49.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51.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tags/tag53.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55.xml" ContentType="application/vnd.openxmlformats-officedocument.presentationml.tags+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57.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tags/tag59.xml" ContentType="application/vnd.openxmlformats-officedocument.presentationml.tags+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61.xml" ContentType="application/vnd.openxmlformats-officedocument.presentationml.tags+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tags/tag63.xml" ContentType="application/vnd.openxmlformats-officedocument.presentationml.tags+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tags/tag65.xml" ContentType="application/vnd.openxmlformats-officedocument.presentationml.tags+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tags/tag67.xml" ContentType="application/vnd.openxmlformats-officedocument.presentationml.tags+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tags/tag69.xml" ContentType="application/vnd.openxmlformats-officedocument.presentationml.tags+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tags/tag71.xml" ContentType="application/vnd.openxmlformats-officedocument.presentationml.tags+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tags/tag73.xml" ContentType="application/vnd.openxmlformats-officedocument.presentationml.tags+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tags/tag75.xml" ContentType="application/vnd.openxmlformats-officedocument.presentationml.tags+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tags/tag77.xml" ContentType="application/vnd.openxmlformats-officedocument.presentationml.tags+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tags/tag79.xml" ContentType="application/vnd.openxmlformats-officedocument.presentationml.tags+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tags/tag81.xml" ContentType="application/vnd.openxmlformats-officedocument.presentationml.tags+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tags/tag83.xml" ContentType="application/vnd.openxmlformats-officedocument.presentationml.tags+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tags/tag85.xml" ContentType="application/vnd.openxmlformats-officedocument.presentationml.tags+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tags/tag87.xml" ContentType="application/vnd.openxmlformats-officedocument.presentationml.tags+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tags/tag89.xml" ContentType="application/vnd.openxmlformats-officedocument.presentationml.tags+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tags/tag91.xml" ContentType="application/vnd.openxmlformats-officedocument.presentationml.tags+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tags/tag93.xml" ContentType="application/vnd.openxmlformats-officedocument.presentationml.tags+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tags/tag94.xml" ContentType="application/vnd.openxmlformats-officedocument.presentationml.tags+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tags/tag95.xml" ContentType="application/vnd.openxmlformats-officedocument.presentationml.tags+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tags/tag96.xml" ContentType="application/vnd.openxmlformats-officedocument.presentationml.tags+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tags/tag97.xml" ContentType="application/vnd.openxmlformats-officedocument.presentationml.tags+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tags/tag98.xml" ContentType="application/vnd.openxmlformats-officedocument.presentationml.tags+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tags/tag99.xml" ContentType="application/vnd.openxmlformats-officedocument.presentationml.tags+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100.xml" ContentType="application/vnd.openxmlformats-officedocument.presentationml.tags+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tags/tag101.xml" ContentType="application/vnd.openxmlformats-officedocument.presentationml.tags+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tags/tag102.xml" ContentType="application/vnd.openxmlformats-officedocument.presentationml.tags+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tags/tag103.xml" ContentType="application/vnd.openxmlformats-officedocument.presentationml.tags+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tags/tag104.xml" ContentType="application/vnd.openxmlformats-officedocument.presentationml.tags+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tags/tag105.xml" ContentType="application/vnd.openxmlformats-officedocument.presentationml.tags+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tags/tag106.xml" ContentType="application/vnd.openxmlformats-officedocument.presentationml.tags+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tags/tag107.xml" ContentType="application/vnd.openxmlformats-officedocument.presentationml.tags+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108.xml" ContentType="application/vnd.openxmlformats-officedocument.presentationml.tags+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tags/tag109.xml" ContentType="application/vnd.openxmlformats-officedocument.presentationml.tags+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tags/tag110.xml" ContentType="application/vnd.openxmlformats-officedocument.presentationml.tags+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tags/tag111.xml" ContentType="application/vnd.openxmlformats-officedocument.presentationml.tags+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tags/tag112.xml" ContentType="application/vnd.openxmlformats-officedocument.presentationml.tags+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tags/tag113.xml" ContentType="application/vnd.openxmlformats-officedocument.presentationml.tags+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tags/tag114.xml" ContentType="application/vnd.openxmlformats-officedocument.presentationml.tags+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tags/tag115.xml" ContentType="application/vnd.openxmlformats-officedocument.presentationml.tags+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tags/tag116.xml" ContentType="application/vnd.openxmlformats-officedocument.presentationml.tags+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tags/tag117.xml" ContentType="application/vnd.openxmlformats-officedocument.presentationml.tags+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tags/tag118.xml" ContentType="application/vnd.openxmlformats-officedocument.presentationml.tags+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tags/tag119.xml" ContentType="application/vnd.openxmlformats-officedocument.presentationml.tags+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tags/tag120.xml" ContentType="application/vnd.openxmlformats-officedocument.presentationml.tags+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tags/tag121.xml" ContentType="application/vnd.openxmlformats-officedocument.presentationml.tags+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tags/tag122.xml" ContentType="application/vnd.openxmlformats-officedocument.presentationml.tags+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tags/tag123.xml" ContentType="application/vnd.openxmlformats-officedocument.presentationml.tags+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tags/tag124.xml" ContentType="application/vnd.openxmlformats-officedocument.presentationml.tags+xml"/>
  <Override PartName="/ppt/charts/chart28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tags/tag125.xml" ContentType="application/vnd.openxmlformats-officedocument.presentationml.tags+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tags/tag126.xml" ContentType="application/vnd.openxmlformats-officedocument.presentationml.tags+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tags/tag127.xml" ContentType="application/vnd.openxmlformats-officedocument.presentationml.tags+xml"/>
  <Override PartName="/ppt/charts/chart298.xml" ContentType="application/vnd.openxmlformats-officedocument.drawingml.chart+xml"/>
  <Override PartName="/ppt/charts/chart299.xml" ContentType="application/vnd.openxmlformats-officedocument.drawingml.chart+xml"/>
  <Override PartName="/ppt/charts/chart300.xml" ContentType="application/vnd.openxmlformats-officedocument.drawingml.chart+xml"/>
  <Override PartName="/ppt/tags/tag128.xml" ContentType="application/vnd.openxmlformats-officedocument.presentationml.tags+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tags/tag129.xml" ContentType="application/vnd.openxmlformats-officedocument.presentationml.tags+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tags/tag130.xml" ContentType="application/vnd.openxmlformats-officedocument.presentationml.tags+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tags/tag131.xml" ContentType="application/vnd.openxmlformats-officedocument.presentationml.tags+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tags/tag132.xml" ContentType="application/vnd.openxmlformats-officedocument.presentationml.tags+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tags/tag133.xml" ContentType="application/vnd.openxmlformats-officedocument.presentationml.tags+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tags/tag134.xml" ContentType="application/vnd.openxmlformats-officedocument.presentationml.tags+xml"/>
  <Override PartName="/ppt/charts/chart319.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tags/tag135.xml" ContentType="application/vnd.openxmlformats-officedocument.presentationml.tags+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tags/tag136.xml" ContentType="application/vnd.openxmlformats-officedocument.presentationml.tags+xml"/>
  <Override PartName="/ppt/charts/chart325.xml" ContentType="application/vnd.openxmlformats-officedocument.drawingml.chart+xml"/>
  <Override PartName="/ppt/charts/chart326.xml" ContentType="application/vnd.openxmlformats-officedocument.drawingml.chart+xml"/>
  <Override PartName="/ppt/charts/chart327.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114"/>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 id="2147475239" r:id="rId71"/>
    <p:sldId id="2147475240" r:id="rId72"/>
    <p:sldId id="2147475241" r:id="rId73"/>
    <p:sldId id="2147475242" r:id="rId74"/>
    <p:sldId id="2147475243" r:id="rId75"/>
    <p:sldId id="2147475244" r:id="rId76"/>
    <p:sldId id="2147475245" r:id="rId77"/>
    <p:sldId id="2147475246" r:id="rId78"/>
    <p:sldId id="2147475247" r:id="rId79"/>
    <p:sldId id="2147475248" r:id="rId80"/>
    <p:sldId id="2147475249" r:id="rId81"/>
    <p:sldId id="2147475250" r:id="rId82"/>
    <p:sldId id="2147475251" r:id="rId83"/>
    <p:sldId id="2147475252" r:id="rId84"/>
    <p:sldId id="2147475253" r:id="rId85"/>
    <p:sldId id="2147475254" r:id="rId86"/>
    <p:sldId id="2147475255" r:id="rId87"/>
    <p:sldId id="2147475256" r:id="rId88"/>
    <p:sldId id="2147475257" r:id="rId89"/>
    <p:sldId id="2147475258" r:id="rId90"/>
    <p:sldId id="2147475259" r:id="rId91"/>
    <p:sldId id="2147475260" r:id="rId92"/>
    <p:sldId id="2147475261" r:id="rId93"/>
    <p:sldId id="2147475262" r:id="rId94"/>
    <p:sldId id="2147475263" r:id="rId95"/>
    <p:sldId id="2147475264" r:id="rId96"/>
    <p:sldId id="2147475265" r:id="rId97"/>
    <p:sldId id="2147475266" r:id="rId98"/>
    <p:sldId id="2147475267" r:id="rId99"/>
    <p:sldId id="2147475268" r:id="rId100"/>
    <p:sldId id="2147475269" r:id="rId101"/>
    <p:sldId id="2147475270" r:id="rId102"/>
    <p:sldId id="2147475271" r:id="rId103"/>
    <p:sldId id="2147475272" r:id="rId104"/>
    <p:sldId id="2147475273" r:id="rId105"/>
    <p:sldId id="2147475274" r:id="rId106"/>
    <p:sldId id="2147475275" r:id="rId107"/>
    <p:sldId id="2147475276" r:id="rId108"/>
    <p:sldId id="2147475277" r:id="rId109"/>
    <p:sldId id="2147475278" r:id="rId110"/>
    <p:sldId id="2147475279" r:id="rId111"/>
    <p:sldId id="2147475280" r:id="rId112"/>
    <p:sldId id="2147475281" r:id="rId113"/>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Share Topline By Pack Size Bracket" id="{5003D301-D25B-4A23-9B0E-EBF6747C4905}">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 id="2147475266"/>
            <p14:sldId id="2147475267"/>
            <p14:sldId id="2147475268"/>
            <p14:sldId id="2147475269"/>
            <p14:sldId id="2147475270"/>
            <p14:sldId id="2147475271"/>
            <p14:sldId id="2147475272"/>
            <p14:sldId id="2147475273"/>
            <p14:sldId id="2147475274"/>
            <p14:sldId id="2147475275"/>
            <p14:sldId id="2147475276"/>
            <p14:sldId id="2147475277"/>
            <p14:sldId id="2147475278"/>
            <p14:sldId id="2147475279"/>
            <p14:sldId id="2147475280"/>
            <p14:sldId id="2147475281"/>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7" d="100"/>
          <a:sy n="57" d="100"/>
        </p:scale>
        <p:origin x="67" y="13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theme" Target="theme/theme1.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tableStyles" Target="tableStyles.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notesMaster" Target="notesMasters/notesMaster1.xml"/><Relationship Id="rId119" Type="http://schemas.microsoft.com/office/2015/10/relationships/revisionInfo" Target="revisionInfo.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microsoft.com/office/2018/10/relationships/authors" Target="author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presProps" Target="presProp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25.xml.rels><?xml version="1.0" encoding="UTF-8" standalone="yes"?>
<Relationships xmlns="http://schemas.openxmlformats.org/package/2006/relationships"><Relationship Id="rId1" Type="http://schemas.openxmlformats.org/officeDocument/2006/relationships/package" Target="../embeddings/Microsoft_Excel_Worksheet324.xlsx"/></Relationships>
</file>

<file path=ppt/charts/_rels/chart326.xml.rels><?xml version="1.0" encoding="UTF-8" standalone="yes"?>
<Relationships xmlns="http://schemas.openxmlformats.org/package/2006/relationships"><Relationship Id="rId1" Type="http://schemas.openxmlformats.org/officeDocument/2006/relationships/package" Target="../embeddings/Microsoft_Excel_Worksheet325.xlsx"/></Relationships>
</file>

<file path=ppt/charts/_rels/chart327.xml.rels><?xml version="1.0" encoding="UTF-8" standalone="yes"?>
<Relationships xmlns="http://schemas.openxmlformats.org/package/2006/relationships"><Relationship Id="rId1" Type="http://schemas.openxmlformats.org/officeDocument/2006/relationships/package" Target="../embeddings/Microsoft_Excel_Worksheet326.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178</c:v>
                </c:pt>
                <c:pt idx="1">
                  <c:v>0.24279999999999999</c:v>
                </c:pt>
                <c:pt idx="3">
                  <c:v>0.25269999999999998</c:v>
                </c:pt>
                <c:pt idx="4">
                  <c:v>0.36409999999999998</c:v>
                </c:pt>
                <c:pt idx="5">
                  <c:v>1.52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5099999999999999E-2</c:v>
                </c:pt>
                <c:pt idx="1">
                  <c:v>0.21229999999999999</c:v>
                </c:pt>
                <c:pt idx="3">
                  <c:v>0.30740000000000001</c:v>
                </c:pt>
                <c:pt idx="4">
                  <c:v>0.41170000000000001</c:v>
                </c:pt>
                <c:pt idx="5">
                  <c:v>2.93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313</c:v>
                </c:pt>
                <c:pt idx="3">
                  <c:v>0.16900000000000001</c:v>
                </c:pt>
                <c:pt idx="4">
                  <c:v>0.63109999999999999</c:v>
                </c:pt>
                <c:pt idx="5">
                  <c:v>6.8599999999999994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0753569081840399</c:v>
                </c:pt>
                <c:pt idx="1">
                  <c:v>0.13971821210992383</c:v>
                </c:pt>
                <c:pt idx="2">
                  <c:v>4.9530846352275518E-2</c:v>
                </c:pt>
                <c:pt idx="3">
                  <c:v>0.16819133898787419</c:v>
                </c:pt>
                <c:pt idx="4">
                  <c:v>0.38554060799969914</c:v>
                </c:pt>
                <c:pt idx="5">
                  <c:v>0.11409393680722739</c:v>
                </c:pt>
                <c:pt idx="6">
                  <c:v>3.538936692459600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2.981780672662302E-3</c:v>
                </c:pt>
                <c:pt idx="3">
                  <c:v>3.8357561069938882E-3</c:v>
                </c:pt>
                <c:pt idx="4">
                  <c:v>1.4326417083794972E-2</c:v>
                </c:pt>
                <c:pt idx="5">
                  <c:v>1.5580492902850882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9.3884389662038409E-2</c:v>
                </c:pt>
                <c:pt idx="1">
                  <c:v>8.9999516517917988E-2</c:v>
                </c:pt>
                <c:pt idx="2">
                  <c:v>4.0537001454274857E-2</c:v>
                </c:pt>
                <c:pt idx="3">
                  <c:v>0.10111124889054686</c:v>
                </c:pt>
                <c:pt idx="4">
                  <c:v>0.21520797885067081</c:v>
                </c:pt>
                <c:pt idx="5">
                  <c:v>5.5368084186756955E-2</c:v>
                </c:pt>
                <c:pt idx="6">
                  <c:v>3.298984667177440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1.0024772004494113E-3</c:v>
                </c:pt>
                <c:pt idx="6">
                  <c:v>7.4860186453750517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0">
                  <c:v>1.4179004491987836E-3</c:v>
                </c:pt>
                <c:pt idx="3">
                  <c:v>8.5040050926192545E-4</c:v>
                </c:pt>
                <c:pt idx="4">
                  <c:v>3.4819886667730618E-3</c:v>
                </c:pt>
                <c:pt idx="5">
                  <c:v>7.6513103926672589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0">
                  <c:v>1.0899245660523102E-2</c:v>
                </c:pt>
                <c:pt idx="1">
                  <c:v>4.6318813712603872E-2</c:v>
                </c:pt>
                <c:pt idx="2">
                  <c:v>8.5442540634478991E-3</c:v>
                </c:pt>
                <c:pt idx="3">
                  <c:v>6.2185127181505803E-2</c:v>
                </c:pt>
                <c:pt idx="4">
                  <c:v>0.15146739685292124</c:v>
                </c:pt>
                <c:pt idx="5">
                  <c:v>5.5938128769230724E-2</c:v>
                </c:pt>
                <c:pt idx="6">
                  <c:v>1.176163938328809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0.6522</c:v>
                </c:pt>
                <c:pt idx="5">
                  <c:v>0.347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0753569081840399</c:v>
                </c:pt>
                <c:pt idx="1">
                  <c:v>0.13971821210992383</c:v>
                </c:pt>
                <c:pt idx="2">
                  <c:v>4.9530846352275518E-2</c:v>
                </c:pt>
                <c:pt idx="3">
                  <c:v>0.16819133898787419</c:v>
                </c:pt>
                <c:pt idx="4">
                  <c:v>0.38554060799969914</c:v>
                </c:pt>
                <c:pt idx="5">
                  <c:v>0.11409393680722739</c:v>
                </c:pt>
                <c:pt idx="6">
                  <c:v>3.538936692459600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4">
                  <c:v>7.5610635966925585E-4</c:v>
                </c:pt>
                <c:pt idx="5">
                  <c:v>4.0319123232256826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9.3884389662038409E-2</c:v>
                </c:pt>
                <c:pt idx="1">
                  <c:v>8.9999516517917988E-2</c:v>
                </c:pt>
                <c:pt idx="2">
                  <c:v>4.0537001454274857E-2</c:v>
                </c:pt>
                <c:pt idx="3">
                  <c:v>0.10111124889054686</c:v>
                </c:pt>
                <c:pt idx="4">
                  <c:v>0.21520797885067081</c:v>
                </c:pt>
                <c:pt idx="5">
                  <c:v>5.5368084186756955E-2</c:v>
                </c:pt>
                <c:pt idx="6">
                  <c:v>3.298984667177440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1.0024772004494113E-3</c:v>
                </c:pt>
                <c:pt idx="6">
                  <c:v>7.4860186453750517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0">
                  <c:v>1.4179004491987836E-3</c:v>
                </c:pt>
                <c:pt idx="3">
                  <c:v>8.5040050926192545E-4</c:v>
                </c:pt>
                <c:pt idx="4">
                  <c:v>3.4819886667730618E-3</c:v>
                </c:pt>
                <c:pt idx="5">
                  <c:v>7.6513103926672589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0">
                  <c:v>1.0899245660523102E-2</c:v>
                </c:pt>
                <c:pt idx="1">
                  <c:v>4.9300594385266176E-2</c:v>
                </c:pt>
                <c:pt idx="2">
                  <c:v>8.5442540634478991E-3</c:v>
                </c:pt>
                <c:pt idx="3">
                  <c:v>6.6020883288499685E-2</c:v>
                </c:pt>
                <c:pt idx="4">
                  <c:v>0.16503770757704694</c:v>
                </c:pt>
                <c:pt idx="5">
                  <c:v>5.7092986827193243E-2</c:v>
                </c:pt>
                <c:pt idx="6">
                  <c:v>1.176163938328809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79151444034320562</c:v>
                </c:pt>
                <c:pt idx="1">
                  <c:v>0.13400910309406328</c:v>
                </c:pt>
                <c:pt idx="2">
                  <c:v>6.9991565748937973E-2</c:v>
                </c:pt>
                <c:pt idx="3">
                  <c:v>4.4823290201488047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0">
                  <c:v>9.741391394088930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69291539934321889</c:v>
                </c:pt>
                <c:pt idx="1">
                  <c:v>0.13374459376836589</c:v>
                </c:pt>
                <c:pt idx="2">
                  <c:v>4.7182594717816197E-2</c:v>
                </c:pt>
                <c:pt idx="3">
                  <c:v>4.482329020148804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bg P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5.4242261684972991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0">
                  <c:v>6.4165493323858338E-4</c:v>
                </c:pt>
                <c:pt idx="2">
                  <c:v>6.065881101735883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2">
                  <c:v>1.674083389820883E-2</c:v>
                </c:pt>
                <c:pt idx="4">
                  <c:v>2.4708912891628213E-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8.910399797764669E-2</c:v>
                </c:pt>
                <c:pt idx="1">
                  <c:v>0.11995933765933162</c:v>
                </c:pt>
                <c:pt idx="2">
                  <c:v>3.2421463664751571E-2</c:v>
                </c:pt>
                <c:pt idx="3">
                  <c:v>0.1934484256627155</c:v>
                </c:pt>
                <c:pt idx="4">
                  <c:v>0.38887447159292982</c:v>
                </c:pt>
                <c:pt idx="5">
                  <c:v>0.12717759230953363</c:v>
                </c:pt>
                <c:pt idx="6">
                  <c:v>4.901471113309119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79151444034320562</c:v>
                </c:pt>
                <c:pt idx="1">
                  <c:v>0.13400910309406328</c:v>
                </c:pt>
                <c:pt idx="2">
                  <c:v>6.9991565748937973E-2</c:v>
                </c:pt>
                <c:pt idx="3">
                  <c:v>4.4823290201488047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4">
                  <c:v>2.4708912891628213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69291539934321889</c:v>
                </c:pt>
                <c:pt idx="1">
                  <c:v>0.13374459376836589</c:v>
                </c:pt>
                <c:pt idx="2">
                  <c:v>4.7182594717816197E-2</c:v>
                </c:pt>
                <c:pt idx="3">
                  <c:v>4.482329020148804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9.741391394088930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 P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0">
                  <c:v>5.424226168497299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0">
                  <c:v>6.4165493323858338E-4</c:v>
                </c:pt>
                <c:pt idx="2">
                  <c:v>2.280671499994471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313</c:v>
                </c:pt>
                <c:pt idx="3">
                  <c:v>0.16900000000000001</c:v>
                </c:pt>
                <c:pt idx="4">
                  <c:v>0.63119999999999998</c:v>
                </c:pt>
                <c:pt idx="5">
                  <c:v>6.8500000000000005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6800466885093872E-2</c:v>
                </c:pt>
                <c:pt idx="1">
                  <c:v>0.15887526096647492</c:v>
                </c:pt>
                <c:pt idx="2">
                  <c:v>3.3053446443782955E-2</c:v>
                </c:pt>
                <c:pt idx="3">
                  <c:v>0.20533116933605744</c:v>
                </c:pt>
                <c:pt idx="4">
                  <c:v>0.42438959316682384</c:v>
                </c:pt>
                <c:pt idx="5">
                  <c:v>0.11671716760849332</c:v>
                </c:pt>
                <c:pt idx="6">
                  <c:v>1.483289559327360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9.2757963984873779E-3</c:v>
                </c:pt>
                <c:pt idx="3">
                  <c:v>1.1944162548435423E-2</c:v>
                </c:pt>
                <c:pt idx="4">
                  <c:v>4.4598119058679102E-2</c:v>
                </c:pt>
                <c:pt idx="5">
                  <c:v>4.8401653089422342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4.3577168221950138E-2</c:v>
                </c:pt>
                <c:pt idx="1">
                  <c:v>8.5673842615887341E-2</c:v>
                </c:pt>
                <c:pt idx="2">
                  <c:v>2.2374601679534672E-2</c:v>
                </c:pt>
                <c:pt idx="3">
                  <c:v>0.1115255979675184</c:v>
                </c:pt>
                <c:pt idx="4">
                  <c:v>0.2260428014698308</c:v>
                </c:pt>
                <c:pt idx="5">
                  <c:v>6.0824845694725634E-2</c:v>
                </c:pt>
                <c:pt idx="6">
                  <c:v>1.481829607020167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3.2218981511703015E-3</c:v>
                </c:pt>
                <c:pt idx="1">
                  <c:v>1.9593596097118374E-2</c:v>
                </c:pt>
                <c:pt idx="2">
                  <c:v>5.3925756792090199E-3</c:v>
                </c:pt>
                <c:pt idx="3">
                  <c:v>1.8628486604074474E-2</c:v>
                </c:pt>
                <c:pt idx="4">
                  <c:v>4.5754459504933183E-2</c:v>
                </c:pt>
                <c:pt idx="5">
                  <c:v>1.293578202320907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1.5658713178168714E-2</c:v>
                </c:pt>
                <c:pt idx="3">
                  <c:v>2.7517788517334239E-2</c:v>
                </c:pt>
                <c:pt idx="4">
                  <c:v>7.0736268930738672E-2</c:v>
                </c:pt>
                <c:pt idx="5">
                  <c:v>2.771505307154626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2.8664927925623303E-2</c:v>
                </c:pt>
                <c:pt idx="2">
                  <c:v>5.2858538169541112E-3</c:v>
                </c:pt>
                <c:pt idx="3">
                  <c:v>3.5715109271160464E-2</c:v>
                </c:pt>
                <c:pt idx="4">
                  <c:v>3.7256177277652416E-2</c:v>
                </c:pt>
                <c:pt idx="5">
                  <c:v>1.04013052250471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35089999999999999</c:v>
                </c:pt>
                <c:pt idx="3">
                  <c:v>0.3412</c:v>
                </c:pt>
                <c:pt idx="4">
                  <c:v>0.30769999999999997</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6800466885093872E-2</c:v>
                </c:pt>
                <c:pt idx="1">
                  <c:v>0.15887526096647492</c:v>
                </c:pt>
                <c:pt idx="2">
                  <c:v>3.3053446443782955E-2</c:v>
                </c:pt>
                <c:pt idx="3">
                  <c:v>0.20533116933605744</c:v>
                </c:pt>
                <c:pt idx="4">
                  <c:v>0.42438959316682384</c:v>
                </c:pt>
                <c:pt idx="5">
                  <c:v>0.11671716760849332</c:v>
                </c:pt>
                <c:pt idx="6">
                  <c:v>1.483289559327360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2.4036697940940425E-2</c:v>
                </c:pt>
                <c:pt idx="3">
                  <c:v>2.3374402342711289E-2</c:v>
                </c:pt>
                <c:pt idx="4">
                  <c:v>2.1080642611239594E-2</c:v>
                </c:pt>
                <c:pt idx="5">
                  <c:v>6.373550855858974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4.3577168221950138E-2</c:v>
                </c:pt>
                <c:pt idx="1">
                  <c:v>8.5673842615887341E-2</c:v>
                </c:pt>
                <c:pt idx="2">
                  <c:v>2.2374601679534672E-2</c:v>
                </c:pt>
                <c:pt idx="3">
                  <c:v>0.1115255979675184</c:v>
                </c:pt>
                <c:pt idx="4">
                  <c:v>0.2260428014698308</c:v>
                </c:pt>
                <c:pt idx="5">
                  <c:v>6.0824845694725634E-2</c:v>
                </c:pt>
                <c:pt idx="6">
                  <c:v>1.481829607020167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3.2218981511703015E-3</c:v>
                </c:pt>
                <c:pt idx="1">
                  <c:v>1.9593596097118374E-2</c:v>
                </c:pt>
                <c:pt idx="2">
                  <c:v>5.3925756792090199E-3</c:v>
                </c:pt>
                <c:pt idx="3">
                  <c:v>1.8628486604074474E-2</c:v>
                </c:pt>
                <c:pt idx="4">
                  <c:v>4.5754459504933183E-2</c:v>
                </c:pt>
                <c:pt idx="5">
                  <c:v>1.293578202320907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1.5658713178168714E-2</c:v>
                </c:pt>
                <c:pt idx="3">
                  <c:v>2.7517788517334239E-2</c:v>
                </c:pt>
                <c:pt idx="4">
                  <c:v>7.0736268930738672E-2</c:v>
                </c:pt>
                <c:pt idx="5">
                  <c:v>2.771505307154626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1.3904026383170256E-2</c:v>
                </c:pt>
                <c:pt idx="2">
                  <c:v>5.2858538169541112E-3</c:v>
                </c:pt>
                <c:pt idx="3">
                  <c:v>2.4284869476884595E-2</c:v>
                </c:pt>
                <c:pt idx="4">
                  <c:v>6.0773653725091928E-2</c:v>
                </c:pt>
                <c:pt idx="5">
                  <c:v>1.523509698313354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0.3251</c:v>
                </c:pt>
                <c:pt idx="5">
                  <c:v>0.67490000000000006</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6800466885093872E-2</c:v>
                </c:pt>
                <c:pt idx="1">
                  <c:v>0.15887526096647492</c:v>
                </c:pt>
                <c:pt idx="2">
                  <c:v>3.3053446443782955E-2</c:v>
                </c:pt>
                <c:pt idx="3">
                  <c:v>0.20533116933605744</c:v>
                </c:pt>
                <c:pt idx="4">
                  <c:v>0.42438959316682384</c:v>
                </c:pt>
                <c:pt idx="5">
                  <c:v>0.11671716760849332</c:v>
                </c:pt>
                <c:pt idx="6">
                  <c:v>1.483289559327360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0">
                  <c:v>1.6987151972885865E-3</c:v>
                </c:pt>
                <c:pt idx="1">
                  <c:v>1.0287547571512911E-2</c:v>
                </c:pt>
                <c:pt idx="3">
                  <c:v>1.4894815964722568E-2</c:v>
                </c:pt>
                <c:pt idx="4">
                  <c:v>1.9946989037500827E-2</c:v>
                </c:pt>
                <c:pt idx="5">
                  <c:v>1.418714163904355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8.4878251368466884E-2</c:v>
                </c:pt>
                <c:pt idx="1">
                  <c:v>8.5264227235548148E-2</c:v>
                </c:pt>
                <c:pt idx="2">
                  <c:v>2.6742727706094767E-2</c:v>
                </c:pt>
                <c:pt idx="3">
                  <c:v>0.12276041346158852</c:v>
                </c:pt>
                <c:pt idx="4">
                  <c:v>0.23440654239596914</c:v>
                </c:pt>
                <c:pt idx="5">
                  <c:v>6.9079506970967569E-2</c:v>
                </c:pt>
                <c:pt idx="6">
                  <c:v>4.782603464937105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2.3973362757363282E-3</c:v>
                </c:pt>
                <c:pt idx="1">
                  <c:v>6.763794945996133E-3</c:v>
                </c:pt>
                <c:pt idx="3">
                  <c:v>1.5789958210434409E-2</c:v>
                </c:pt>
                <c:pt idx="4">
                  <c:v>2.272870436382198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1.6225805022353632E-2</c:v>
                </c:pt>
                <c:pt idx="2">
                  <c:v>1.8769413570315268E-3</c:v>
                </c:pt>
                <c:pt idx="3">
                  <c:v>3.1651884977326808E-2</c:v>
                </c:pt>
                <c:pt idx="4">
                  <c:v>8.0202594318745546E-2</c:v>
                </c:pt>
                <c:pt idx="5">
                  <c:v>3.859139534786864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1.4141519630693233E-3</c:v>
                </c:pt>
                <c:pt idx="2">
                  <c:v>3.6440128679050771E-3</c:v>
                </c:pt>
                <c:pt idx="3">
                  <c:v>8.3445444005264355E-3</c:v>
                </c:pt>
                <c:pt idx="4">
                  <c:v>3.1314027068455166E-2</c:v>
                </c:pt>
                <c:pt idx="5">
                  <c:v>1.7851001050868818E-2</c:v>
                </c:pt>
                <c:pt idx="6">
                  <c:v>8.1484769583200654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4">
                  <c:v>8.7943195169217303E-5</c:v>
                </c:pt>
                <c:pt idx="5">
                  <c:v>1.8258157039749567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4.3577168221950138E-2</c:v>
                </c:pt>
                <c:pt idx="1">
                  <c:v>8.5673842615887341E-2</c:v>
                </c:pt>
                <c:pt idx="2">
                  <c:v>2.2374601679534672E-2</c:v>
                </c:pt>
                <c:pt idx="3">
                  <c:v>0.1115255979675184</c:v>
                </c:pt>
                <c:pt idx="4">
                  <c:v>0.2260428014698308</c:v>
                </c:pt>
                <c:pt idx="5">
                  <c:v>6.0824845694725634E-2</c:v>
                </c:pt>
                <c:pt idx="6">
                  <c:v>1.481829607020167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3.2218981511703015E-3</c:v>
                </c:pt>
                <c:pt idx="1">
                  <c:v>1.9593596097118374E-2</c:v>
                </c:pt>
                <c:pt idx="2">
                  <c:v>5.3925756792090199E-3</c:v>
                </c:pt>
                <c:pt idx="3">
                  <c:v>1.8628486604074474E-2</c:v>
                </c:pt>
                <c:pt idx="4">
                  <c:v>4.5754459504933183E-2</c:v>
                </c:pt>
                <c:pt idx="5">
                  <c:v>1.293578202320907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1.5658713178168714E-2</c:v>
                </c:pt>
                <c:pt idx="3">
                  <c:v>2.7517788517334239E-2</c:v>
                </c:pt>
                <c:pt idx="4">
                  <c:v>7.0736268930738672E-2</c:v>
                </c:pt>
                <c:pt idx="5">
                  <c:v>2.771505307154626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3.7940724324110678E-2</c:v>
                </c:pt>
                <c:pt idx="2">
                  <c:v>5.2858538169541112E-3</c:v>
                </c:pt>
                <c:pt idx="3">
                  <c:v>4.765927181959588E-2</c:v>
                </c:pt>
                <c:pt idx="4">
                  <c:v>8.1766353141162304E-2</c:v>
                </c:pt>
                <c:pt idx="5">
                  <c:v>1.505888896359190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7199999999999997E-2</c:v>
                </c:pt>
                <c:pt idx="1">
                  <c:v>0.22539999999999999</c:v>
                </c:pt>
                <c:pt idx="3">
                  <c:v>0.32279999999999998</c:v>
                </c:pt>
                <c:pt idx="4">
                  <c:v>0.39979999999999999</c:v>
                </c:pt>
                <c:pt idx="5">
                  <c:v>1.0500000000000001E-2</c:v>
                </c:pt>
                <c:pt idx="6">
                  <c:v>4.3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8.910399797764669E-2</c:v>
                </c:pt>
                <c:pt idx="1">
                  <c:v>0.1199593376593316</c:v>
                </c:pt>
                <c:pt idx="2">
                  <c:v>3.2421463664751578E-2</c:v>
                </c:pt>
                <c:pt idx="3">
                  <c:v>0.19344842566271553</c:v>
                </c:pt>
                <c:pt idx="4">
                  <c:v>0.38887447159292976</c:v>
                </c:pt>
                <c:pt idx="5">
                  <c:v>0.12717759230953365</c:v>
                </c:pt>
                <c:pt idx="6">
                  <c:v>4.901471113309118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0">
                  <c:v>1.6986616004385901E-3</c:v>
                </c:pt>
                <c:pt idx="1">
                  <c:v>1.0287547571512911E-2</c:v>
                </c:pt>
                <c:pt idx="3">
                  <c:v>1.4733041265677637E-2</c:v>
                </c:pt>
                <c:pt idx="4">
                  <c:v>1.8249572177699222E-2</c:v>
                </c:pt>
                <c:pt idx="5">
                  <c:v>4.8013536760497844E-4</c:v>
                </c:pt>
                <c:pt idx="6">
                  <c:v>1.9460461783491978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8.3446813497190131E-2</c:v>
                </c:pt>
                <c:pt idx="1">
                  <c:v>8.5264227235548148E-2</c:v>
                </c:pt>
                <c:pt idx="2">
                  <c:v>2.6742727706094767E-2</c:v>
                </c:pt>
                <c:pt idx="3">
                  <c:v>0.12276041346158852</c:v>
                </c:pt>
                <c:pt idx="4">
                  <c:v>0.23440654239596914</c:v>
                </c:pt>
                <c:pt idx="5">
                  <c:v>6.9079506970967569E-2</c:v>
                </c:pt>
                <c:pt idx="6">
                  <c:v>4.675710554162976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1.4314378712767578E-3</c:v>
                </c:pt>
                <c:pt idx="6">
                  <c:v>1.068929107741292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0">
                  <c:v>2.3159069511703651E-3</c:v>
                </c:pt>
                <c:pt idx="1">
                  <c:v>3.7448562652567766E-3</c:v>
                </c:pt>
                <c:pt idx="3">
                  <c:v>8.5507250138769399E-3</c:v>
                </c:pt>
                <c:pt idx="4">
                  <c:v>2.272866555230991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2.0658895666162313E-2</c:v>
                </c:pt>
                <c:pt idx="2">
                  <c:v>5.5137537653646845E-3</c:v>
                </c:pt>
                <c:pt idx="3">
                  <c:v>4.7235662574410711E-2</c:v>
                </c:pt>
                <c:pt idx="4">
                  <c:v>0.11259472294896035</c:v>
                </c:pt>
                <c:pt idx="5">
                  <c:v>5.7016360444929963E-2</c:v>
                </c:pt>
                <c:pt idx="6">
                  <c:v>8.1484030316304149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7.1400000000000005E-2</c:v>
                </c:pt>
                <c:pt idx="3">
                  <c:v>0.2268</c:v>
                </c:pt>
                <c:pt idx="4">
                  <c:v>0.46229999999999999</c:v>
                </c:pt>
                <c:pt idx="5">
                  <c:v>0.2394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8.910399797764669E-2</c:v>
                </c:pt>
                <c:pt idx="1">
                  <c:v>0.1199593376593316</c:v>
                </c:pt>
                <c:pt idx="2">
                  <c:v>3.2421463664751578E-2</c:v>
                </c:pt>
                <c:pt idx="3">
                  <c:v>0.19344842566271553</c:v>
                </c:pt>
                <c:pt idx="4">
                  <c:v>0.38887447159292976</c:v>
                </c:pt>
                <c:pt idx="5">
                  <c:v>0.12717759230953365</c:v>
                </c:pt>
                <c:pt idx="6">
                  <c:v>4.901471113309118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6.6097575991067047E-4</c:v>
                </c:pt>
                <c:pt idx="3">
                  <c:v>2.0996870933653773E-3</c:v>
                </c:pt>
                <c:pt idx="4">
                  <c:v>4.2799413412786735E-3</c:v>
                </c:pt>
                <c:pt idx="5">
                  <c:v>2.217871843941748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8.3446813497190131E-2</c:v>
                </c:pt>
                <c:pt idx="1">
                  <c:v>8.5264227235548148E-2</c:v>
                </c:pt>
                <c:pt idx="2">
                  <c:v>2.6742727706094767E-2</c:v>
                </c:pt>
                <c:pt idx="3">
                  <c:v>0.12276041346158852</c:v>
                </c:pt>
                <c:pt idx="4">
                  <c:v>0.23440654239596914</c:v>
                </c:pt>
                <c:pt idx="5">
                  <c:v>6.9079506970967569E-2</c:v>
                </c:pt>
                <c:pt idx="6">
                  <c:v>4.675710554162976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1.4314378712767578E-3</c:v>
                </c:pt>
                <c:pt idx="6">
                  <c:v>1.068929107741292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chick</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0">
                  <c:v>1.6986616004385901E-3</c:v>
                </c:pt>
                <c:pt idx="1">
                  <c:v>1.0287547571512911E-2</c:v>
                </c:pt>
                <c:pt idx="3">
                  <c:v>1.4733041265677637E-2</c:v>
                </c:pt>
                <c:pt idx="4">
                  <c:v>1.8249572177699222E-2</c:v>
                </c:pt>
                <c:pt idx="5">
                  <c:v>4.8013536760497844E-4</c:v>
                </c:pt>
                <c:pt idx="6">
                  <c:v>1.9460461783491978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0">
                  <c:v>2.3159069511703651E-3</c:v>
                </c:pt>
                <c:pt idx="1">
                  <c:v>2.3742776171508419E-2</c:v>
                </c:pt>
                <c:pt idx="2">
                  <c:v>5.5137537653646845E-3</c:v>
                </c:pt>
                <c:pt idx="3">
                  <c:v>5.3686700494922274E-2</c:v>
                </c:pt>
                <c:pt idx="4">
                  <c:v>0.13104344715999158</c:v>
                </c:pt>
                <c:pt idx="5">
                  <c:v>5.4798488600988217E-2</c:v>
                </c:pt>
                <c:pt idx="6">
                  <c:v>8.1484030316304149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0.6522</c:v>
                </c:pt>
                <c:pt idx="5">
                  <c:v>0.347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8.910399797764669E-2</c:v>
                </c:pt>
                <c:pt idx="1">
                  <c:v>0.1199593376593316</c:v>
                </c:pt>
                <c:pt idx="2">
                  <c:v>3.2421463664751578E-2</c:v>
                </c:pt>
                <c:pt idx="3">
                  <c:v>0.19344842566271553</c:v>
                </c:pt>
                <c:pt idx="4">
                  <c:v>0.38887447159292976</c:v>
                </c:pt>
                <c:pt idx="5">
                  <c:v>0.12717759230953365</c:v>
                </c:pt>
                <c:pt idx="6">
                  <c:v>4.901471113309118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4">
                  <c:v>1.0796447814060744E-3</c:v>
                </c:pt>
                <c:pt idx="5">
                  <c:v>5.7571703282083232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8.3446813497190131E-2</c:v>
                </c:pt>
                <c:pt idx="1">
                  <c:v>8.5264227235548148E-2</c:v>
                </c:pt>
                <c:pt idx="2">
                  <c:v>2.6742727706094767E-2</c:v>
                </c:pt>
                <c:pt idx="3">
                  <c:v>0.12276041346158852</c:v>
                </c:pt>
                <c:pt idx="4">
                  <c:v>0.23440654239596914</c:v>
                </c:pt>
                <c:pt idx="5">
                  <c:v>6.9079506970967569E-2</c:v>
                </c:pt>
                <c:pt idx="6">
                  <c:v>4.675710554162976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1.4314378712767578E-3</c:v>
                </c:pt>
                <c:pt idx="6">
                  <c:v>1.068929107741292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chick</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0">
                  <c:v>1.6986616004385901E-3</c:v>
                </c:pt>
                <c:pt idx="1">
                  <c:v>1.0287547571512911E-2</c:v>
                </c:pt>
                <c:pt idx="3">
                  <c:v>1.4733041265677637E-2</c:v>
                </c:pt>
                <c:pt idx="4">
                  <c:v>1.8249572177699222E-2</c:v>
                </c:pt>
                <c:pt idx="5">
                  <c:v>4.8013536760497844E-4</c:v>
                </c:pt>
                <c:pt idx="6">
                  <c:v>1.9460461783491978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0">
                  <c:v>2.3159069511703651E-3</c:v>
                </c:pt>
                <c:pt idx="1">
                  <c:v>2.4403751931419089E-2</c:v>
                </c:pt>
                <c:pt idx="2">
                  <c:v>5.5137537653646845E-3</c:v>
                </c:pt>
                <c:pt idx="3">
                  <c:v>5.5786387588287654E-2</c:v>
                </c:pt>
                <c:pt idx="4">
                  <c:v>0.13424374371986419</c:v>
                </c:pt>
                <c:pt idx="5">
                  <c:v>5.6440643412109137E-2</c:v>
                </c:pt>
                <c:pt idx="6">
                  <c:v>8.1484030316304149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2319</c:v>
                </c:pt>
                <c:pt idx="3">
                  <c:v>0.36599999999999999</c:v>
                </c:pt>
                <c:pt idx="4">
                  <c:v>0.3957</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72632681162898438</c:v>
                </c:pt>
                <c:pt idx="1">
                  <c:v>0.18118137826555591</c:v>
                </c:pt>
                <c:pt idx="2">
                  <c:v>8.6428191042211513E-2</c:v>
                </c:pt>
                <c:pt idx="3">
                  <c:v>6.0601554915755661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4">
                  <c:v>3.3406707423296635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72632539268187979</c:v>
                </c:pt>
                <c:pt idx="1">
                  <c:v>0.18082408291549251</c:v>
                </c:pt>
                <c:pt idx="2">
                  <c:v>6.3791359179711821E-2</c:v>
                </c:pt>
                <c:pt idx="3">
                  <c:v>6.060155491575566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2">
                  <c:v>2.2633781684865389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numCache>
            </c:numRef>
          </c:val>
          <c:extLst>
            <c:ext xmlns:c16="http://schemas.microsoft.com/office/drawing/2014/chart" uri="{C3380CC4-5D6E-409C-BE32-E72D297353CC}">
              <c16:uniqueId val="{00000009-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23400000000000001</c:v>
                </c:pt>
                <c:pt idx="3">
                  <c:v>0.36940000000000001</c:v>
                </c:pt>
                <c:pt idx="4">
                  <c:v>0.3962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9.7494808619359094E-3</c:v>
                </c:pt>
                <c:pt idx="1">
                  <c:v>0.12164650432467999</c:v>
                </c:pt>
                <c:pt idx="2">
                  <c:v>1.3507308300741459E-2</c:v>
                </c:pt>
                <c:pt idx="3">
                  <c:v>0.23680107926496941</c:v>
                </c:pt>
                <c:pt idx="4">
                  <c:v>0.45285546923494047</c:v>
                </c:pt>
                <c:pt idx="5">
                  <c:v>0.14343136655186842</c:v>
                </c:pt>
                <c:pt idx="6">
                  <c:v>2.200879146086426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1.0333451808403237E-2</c:v>
                </c:pt>
                <c:pt idx="3">
                  <c:v>1.6309780626626583E-2</c:v>
                </c:pt>
                <c:pt idx="4">
                  <c:v>1.7499675949407229E-2</c:v>
                </c:pt>
                <c:pt idx="5">
                  <c:v>9.4879609703528893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4.9436799068157183E-3</c:v>
                </c:pt>
                <c:pt idx="1">
                  <c:v>6.6973998901594001E-2</c:v>
                </c:pt>
                <c:pt idx="2">
                  <c:v>5.6003736763315598E-3</c:v>
                </c:pt>
                <c:pt idx="3">
                  <c:v>0.13645057043375686</c:v>
                </c:pt>
                <c:pt idx="4">
                  <c:v>0.26126433581277486</c:v>
                </c:pt>
                <c:pt idx="5">
                  <c:v>7.9392094746256206E-2</c:v>
                </c:pt>
                <c:pt idx="6">
                  <c:v>2.200327654561054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4.8037886332637147E-3</c:v>
                </c:pt>
                <c:pt idx="1">
                  <c:v>1.1938070579369436E-2</c:v>
                </c:pt>
                <c:pt idx="3">
                  <c:v>1.8527854046192553E-2</c:v>
                </c:pt>
                <c:pt idx="4">
                  <c:v>3.144945527964933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2.3347565214085337E-2</c:v>
                </c:pt>
                <c:pt idx="3">
                  <c:v>4.0280771043306449E-2</c:v>
                </c:pt>
                <c:pt idx="4">
                  <c:v>0.10461224837243074</c:v>
                </c:pt>
                <c:pt idx="5">
                  <c:v>4.13238943479670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9.0409159302373004E-3</c:v>
                </c:pt>
                <c:pt idx="2">
                  <c:v>7.8813511237639921E-3</c:v>
                </c:pt>
                <c:pt idx="3">
                  <c:v>2.5232100079910728E-2</c:v>
                </c:pt>
                <c:pt idx="4">
                  <c:v>3.8027186061567374E-2</c:v>
                </c:pt>
                <c:pt idx="5">
                  <c:v>2.270586521526480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7.1099999999999997E-2</c:v>
                </c:pt>
                <c:pt idx="3">
                  <c:v>0.2271</c:v>
                </c:pt>
                <c:pt idx="4">
                  <c:v>0.46229999999999999</c:v>
                </c:pt>
                <c:pt idx="5">
                  <c:v>0.2394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9.7494808619359094E-3</c:v>
                </c:pt>
                <c:pt idx="1">
                  <c:v>0.12164650432467999</c:v>
                </c:pt>
                <c:pt idx="2">
                  <c:v>1.3507308300741459E-2</c:v>
                </c:pt>
                <c:pt idx="3">
                  <c:v>0.23680107926496941</c:v>
                </c:pt>
                <c:pt idx="4">
                  <c:v>0.45285546923494047</c:v>
                </c:pt>
                <c:pt idx="5">
                  <c:v>0.14343136655186842</c:v>
                </c:pt>
                <c:pt idx="6">
                  <c:v>2.200879146086426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2.1400997415978416E-3</c:v>
                </c:pt>
                <c:pt idx="3">
                  <c:v>6.831771999210927E-3</c:v>
                </c:pt>
                <c:pt idx="4">
                  <c:v>1.3909026018678147E-2</c:v>
                </c:pt>
                <c:pt idx="5">
                  <c:v>7.20674070882012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4.9436799068157183E-3</c:v>
                </c:pt>
                <c:pt idx="1">
                  <c:v>6.6973998901594001E-2</c:v>
                </c:pt>
                <c:pt idx="2">
                  <c:v>5.6003736763315598E-3</c:v>
                </c:pt>
                <c:pt idx="3">
                  <c:v>0.13645057043375686</c:v>
                </c:pt>
                <c:pt idx="4">
                  <c:v>0.26126433581277486</c:v>
                </c:pt>
                <c:pt idx="5">
                  <c:v>7.9392094746256206E-2</c:v>
                </c:pt>
                <c:pt idx="6">
                  <c:v>2.200327654561054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4.8037886332637147E-3</c:v>
                </c:pt>
                <c:pt idx="1">
                  <c:v>1.1938070579369436E-2</c:v>
                </c:pt>
                <c:pt idx="3">
                  <c:v>1.8527854046192553E-2</c:v>
                </c:pt>
                <c:pt idx="4">
                  <c:v>3.144945527964933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2.3347565214085337E-2</c:v>
                </c:pt>
                <c:pt idx="3">
                  <c:v>4.0280771043306449E-2</c:v>
                </c:pt>
                <c:pt idx="4">
                  <c:v>0.10461224837243074</c:v>
                </c:pt>
                <c:pt idx="5">
                  <c:v>4.13238943479670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1.7234267997042696E-2</c:v>
                </c:pt>
                <c:pt idx="2">
                  <c:v>7.8813511237639921E-3</c:v>
                </c:pt>
                <c:pt idx="3">
                  <c:v>3.4710108707326381E-2</c:v>
                </c:pt>
                <c:pt idx="4">
                  <c:v>4.1617835992296459E-2</c:v>
                </c:pt>
                <c:pt idx="5">
                  <c:v>1.550861246741503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0.3251</c:v>
                </c:pt>
                <c:pt idx="5">
                  <c:v>0.67490000000000006</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9.7494808619359094E-3</c:v>
                </c:pt>
                <c:pt idx="1">
                  <c:v>0.12164650432468001</c:v>
                </c:pt>
                <c:pt idx="2">
                  <c:v>1.350730830074146E-2</c:v>
                </c:pt>
                <c:pt idx="3">
                  <c:v>0.23680107926496941</c:v>
                </c:pt>
                <c:pt idx="4">
                  <c:v>0.45285546923494052</c:v>
                </c:pt>
                <c:pt idx="5">
                  <c:v>0.14343136655186839</c:v>
                </c:pt>
                <c:pt idx="6">
                  <c:v>2.200879146086426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9.7494808619359094E-3</c:v>
                </c:pt>
                <c:pt idx="1">
                  <c:v>0.12164650432467999</c:v>
                </c:pt>
                <c:pt idx="2">
                  <c:v>1.3507308300741459E-2</c:v>
                </c:pt>
                <c:pt idx="3">
                  <c:v>0.23680107926496941</c:v>
                </c:pt>
                <c:pt idx="4">
                  <c:v>0.45285546923494047</c:v>
                </c:pt>
                <c:pt idx="5">
                  <c:v>0.14343136655186842</c:v>
                </c:pt>
                <c:pt idx="6">
                  <c:v>2.200879146086426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4">
                  <c:v>1.3112568453012974E-4</c:v>
                </c:pt>
                <c:pt idx="5">
                  <c:v>2.7223406376003257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4.9436799068157183E-3</c:v>
                </c:pt>
                <c:pt idx="1">
                  <c:v>6.6973998901594001E-2</c:v>
                </c:pt>
                <c:pt idx="2">
                  <c:v>5.6003736763315598E-3</c:v>
                </c:pt>
                <c:pt idx="3">
                  <c:v>0.13645057043375686</c:v>
                </c:pt>
                <c:pt idx="4">
                  <c:v>0.26126433581277486</c:v>
                </c:pt>
                <c:pt idx="5">
                  <c:v>7.9392094746256206E-2</c:v>
                </c:pt>
                <c:pt idx="6">
                  <c:v>2.200327654561054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4.8037886332637147E-3</c:v>
                </c:pt>
                <c:pt idx="1">
                  <c:v>1.1938070579369436E-2</c:v>
                </c:pt>
                <c:pt idx="3">
                  <c:v>1.8527854046192553E-2</c:v>
                </c:pt>
                <c:pt idx="4">
                  <c:v>3.144945527964933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2.3347565214085337E-2</c:v>
                </c:pt>
                <c:pt idx="3">
                  <c:v>4.0280771043306449E-2</c:v>
                </c:pt>
                <c:pt idx="4">
                  <c:v>0.10461224837243074</c:v>
                </c:pt>
                <c:pt idx="5">
                  <c:v>4.13238943479670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1.9374367738640538E-2</c:v>
                </c:pt>
                <c:pt idx="2">
                  <c:v>7.8813511237639921E-3</c:v>
                </c:pt>
                <c:pt idx="3">
                  <c:v>4.1541880706537311E-2</c:v>
                </c:pt>
                <c:pt idx="4">
                  <c:v>5.539573632644447E-2</c:v>
                </c:pt>
                <c:pt idx="5">
                  <c:v>2.244311911247512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84</c:v>
                </c:pt>
                <c:pt idx="1">
                  <c:v>0.26719999999999999</c:v>
                </c:pt>
                <c:pt idx="2">
                  <c:v>2.8E-3</c:v>
                </c:pt>
                <c:pt idx="3">
                  <c:v>0.20899999999999999</c:v>
                </c:pt>
                <c:pt idx="4">
                  <c:v>0.32590000000000002</c:v>
                </c:pt>
                <c:pt idx="5">
                  <c:v>4.0000000000000001E-3</c:v>
                </c:pt>
                <c:pt idx="6">
                  <c:v>7.0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5061038995785681</c:v>
                </c:pt>
                <c:pt idx="1">
                  <c:v>0.18589452264454054</c:v>
                </c:pt>
                <c:pt idx="2">
                  <c:v>8.9515318646496783E-2</c:v>
                </c:pt>
                <c:pt idx="3">
                  <c:v>0.109165756310403</c:v>
                </c:pt>
                <c:pt idx="4">
                  <c:v>0.37774939899404358</c:v>
                </c:pt>
                <c:pt idx="5">
                  <c:v>8.3517552463415051E-2</c:v>
                </c:pt>
                <c:pt idx="6">
                  <c:v>3.54706098324419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0">
                  <c:v>2.6014033700423444E-2</c:v>
                </c:pt>
                <c:pt idx="1">
                  <c:v>3.7779731132604272E-2</c:v>
                </c:pt>
                <c:pt idx="2">
                  <c:v>3.987590537565373E-4</c:v>
                </c:pt>
                <c:pt idx="3">
                  <c:v>2.9539177156512716E-2</c:v>
                </c:pt>
                <c:pt idx="4">
                  <c:v>4.6072220729008052E-2</c:v>
                </c:pt>
                <c:pt idx="5">
                  <c:v>5.6852108864877831E-4</c:v>
                </c:pt>
                <c:pt idx="6">
                  <c:v>9.9268106411151387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1182769105731829</c:v>
                </c:pt>
                <c:pt idx="1">
                  <c:v>0.10106584465926606</c:v>
                </c:pt>
                <c:pt idx="2">
                  <c:v>7.2774094199017966E-2</c:v>
                </c:pt>
                <c:pt idx="3">
                  <c:v>5.0517347474391988E-2</c:v>
                </c:pt>
                <c:pt idx="4">
                  <c:v>0.17034110982414596</c:v>
                </c:pt>
                <c:pt idx="5">
                  <c:v>2.3324613394008813E-2</c:v>
                </c:pt>
                <c:pt idx="6">
                  <c:v>8.158874528653040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4.73152094985505E-3</c:v>
                </c:pt>
                <c:pt idx="1">
                  <c:v>1.3652012810435052E-3</c:v>
                </c:pt>
                <c:pt idx="2">
                  <c:v>1.1005777526241034E-3</c:v>
                </c:pt>
                <c:pt idx="4">
                  <c:v>1.015777287327246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0">
                  <c:v>9.7463997416647222E-4</c:v>
                </c:pt>
                <c:pt idx="1">
                  <c:v>2.9701212231885762E-2</c:v>
                </c:pt>
                <c:pt idx="2">
                  <c:v>1.2926324328569815E-2</c:v>
                </c:pt>
                <c:pt idx="3">
                  <c:v>1.393143374707847E-2</c:v>
                </c:pt>
                <c:pt idx="4">
                  <c:v>7.310886288454832E-2</c:v>
                </c:pt>
                <c:pt idx="5">
                  <c:v>5.5517588666531149E-2</c:v>
                </c:pt>
                <c:pt idx="6">
                  <c:v>5.836316352546505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0">
                  <c:v>6.1328476022895842E-4</c:v>
                </c:pt>
                <c:pt idx="1">
                  <c:v>1.5961440770254076E-2</c:v>
                </c:pt>
                <c:pt idx="2">
                  <c:v>2.110187725531306E-3</c:v>
                </c:pt>
                <c:pt idx="3">
                  <c:v>1.487499095758933E-2</c:v>
                </c:pt>
                <c:pt idx="4">
                  <c:v>7.7207053898585495E-2</c:v>
                </c:pt>
                <c:pt idx="5">
                  <c:v>3.8776379336077655E-3</c:v>
                </c:pt>
                <c:pt idx="6">
                  <c:v>1.0817916092877473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5529999999999999</c:v>
                </c:pt>
                <c:pt idx="3">
                  <c:v>0.14580000000000001</c:v>
                </c:pt>
                <c:pt idx="4">
                  <c:v>0.6985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5061038995785681</c:v>
                </c:pt>
                <c:pt idx="1">
                  <c:v>0.18589452264454054</c:v>
                </c:pt>
                <c:pt idx="2">
                  <c:v>8.9515318646496783E-2</c:v>
                </c:pt>
                <c:pt idx="3">
                  <c:v>0.109165756310403</c:v>
                </c:pt>
                <c:pt idx="4">
                  <c:v>0.37774939899404358</c:v>
                </c:pt>
                <c:pt idx="5">
                  <c:v>8.3517552463415051E-2</c:v>
                </c:pt>
                <c:pt idx="6">
                  <c:v>3.54706098324419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8.4054807224529203E-3</c:v>
                </c:pt>
                <c:pt idx="3">
                  <c:v>7.8929336594547924E-3</c:v>
                </c:pt>
                <c:pt idx="4">
                  <c:v>3.7804939852131264E-2</c:v>
                </c:pt>
                <c:pt idx="5">
                  <c:v>1.60499617514424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1182769105731829</c:v>
                </c:pt>
                <c:pt idx="1">
                  <c:v>0.10106584465926606</c:v>
                </c:pt>
                <c:pt idx="2">
                  <c:v>7.2774094199017966E-2</c:v>
                </c:pt>
                <c:pt idx="3">
                  <c:v>5.0517347474391988E-2</c:v>
                </c:pt>
                <c:pt idx="4">
                  <c:v>0.17034110982414596</c:v>
                </c:pt>
                <c:pt idx="5">
                  <c:v>2.3324613394008813E-2</c:v>
                </c:pt>
                <c:pt idx="6">
                  <c:v>8.158874528653040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4.73152094985505E-3</c:v>
                </c:pt>
                <c:pt idx="1">
                  <c:v>1.3652012810435052E-3</c:v>
                </c:pt>
                <c:pt idx="2">
                  <c:v>1.1005777526241034E-3</c:v>
                </c:pt>
                <c:pt idx="4">
                  <c:v>1.015777287327246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chick</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0">
                  <c:v>2.6014033700423444E-2</c:v>
                </c:pt>
                <c:pt idx="1">
                  <c:v>3.7779731132604272E-2</c:v>
                </c:pt>
                <c:pt idx="2">
                  <c:v>3.987590537565373E-4</c:v>
                </c:pt>
                <c:pt idx="3">
                  <c:v>2.9539177156512716E-2</c:v>
                </c:pt>
                <c:pt idx="4">
                  <c:v>4.6072220729008052E-2</c:v>
                </c:pt>
                <c:pt idx="5">
                  <c:v>5.6852108864877831E-4</c:v>
                </c:pt>
                <c:pt idx="6">
                  <c:v>9.926810641115138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0">
                  <c:v>1.5879247343954306E-3</c:v>
                </c:pt>
                <c:pt idx="1">
                  <c:v>3.7257172279686918E-2</c:v>
                </c:pt>
                <c:pt idx="2">
                  <c:v>1.5036512054101121E-2</c:v>
                </c:pt>
                <c:pt idx="3">
                  <c:v>2.0913491045213006E-2</c:v>
                </c:pt>
                <c:pt idx="4">
                  <c:v>0.11251097693100255</c:v>
                </c:pt>
                <c:pt idx="5">
                  <c:v>5.9379176638387474E-2</c:v>
                </c:pt>
                <c:pt idx="6">
                  <c:v>1.6654232445423981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97670109124038729</c:v>
                </c:pt>
                <c:pt idx="2">
                  <c:v>2.329798829949182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1.0333451808403237E-2</c:v>
                </c:pt>
                <c:pt idx="3">
                  <c:v>1.6309780626626583E-2</c:v>
                </c:pt>
                <c:pt idx="4">
                  <c:v>1.763086537263869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4.9436859771682263E-3</c:v>
                </c:pt>
                <c:pt idx="1">
                  <c:v>6.6973998901594001E-2</c:v>
                </c:pt>
                <c:pt idx="2">
                  <c:v>5.6003736763315598E-3</c:v>
                </c:pt>
                <c:pt idx="3">
                  <c:v>0.13645057043375686</c:v>
                </c:pt>
                <c:pt idx="4">
                  <c:v>0.26126433581277486</c:v>
                </c:pt>
                <c:pt idx="5">
                  <c:v>7.9392094746256206E-2</c:v>
                </c:pt>
                <c:pt idx="6">
                  <c:v>2.200327654561054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4.8049844927078346E-3</c:v>
                </c:pt>
                <c:pt idx="1">
                  <c:v>1.8838886768008895E-2</c:v>
                </c:pt>
                <c:pt idx="3">
                  <c:v>2.7438345417614422E-2</c:v>
                </c:pt>
                <c:pt idx="4">
                  <c:v>3.144945527964933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2.1400997415978416E-3</c:v>
                </c:pt>
                <c:pt idx="3">
                  <c:v>6.831771999210927E-3</c:v>
                </c:pt>
                <c:pt idx="4">
                  <c:v>1.3909041194559418E-2</c:v>
                </c:pt>
                <c:pt idx="5">
                  <c:v>7.20674070882012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2.3347565214085337E-2</c:v>
                </c:pt>
                <c:pt idx="2">
                  <c:v>7.8813511237639921E-3</c:v>
                </c:pt>
                <c:pt idx="3">
                  <c:v>4.9770607752584378E-2</c:v>
                </c:pt>
                <c:pt idx="4">
                  <c:v>0.12859928273078985</c:v>
                </c:pt>
                <c:pt idx="5">
                  <c:v>5.655078479065166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0">
                  <c:v>0.3741498043133523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5980034521698133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bg P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2.083350393585573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0">
                  <c:v>2.4644843636360868E-3</c:v>
                </c:pt>
                <c:pt idx="2">
                  <c:v>2.329798829949182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5529999999999999</c:v>
                </c:pt>
                <c:pt idx="3">
                  <c:v>0.14580000000000001</c:v>
                </c:pt>
                <c:pt idx="4">
                  <c:v>0.6986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2225656363332625</c:v>
                </c:pt>
                <c:pt idx="1">
                  <c:v>0.23469339604185141</c:v>
                </c:pt>
                <c:pt idx="2">
                  <c:v>7.286008721317605E-2</c:v>
                </c:pt>
                <c:pt idx="3">
                  <c:v>0.14124119972580332</c:v>
                </c:pt>
                <c:pt idx="4">
                  <c:v>0.36641748151299414</c:v>
                </c:pt>
                <c:pt idx="5">
                  <c:v>6.231242980305585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2.3807982315800332E-2</c:v>
                </c:pt>
                <c:pt idx="3">
                  <c:v>2.2355789263468605E-2</c:v>
                </c:pt>
                <c:pt idx="4">
                  <c:v>0.10709791790598773</c:v>
                </c:pt>
                <c:pt idx="5">
                  <c:v>2.0521852663902753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12225610621853797</c:v>
                </c:pt>
                <c:pt idx="1">
                  <c:v>0.1237569644955754</c:v>
                </c:pt>
                <c:pt idx="2">
                  <c:v>5.6536115499854905E-2</c:v>
                </c:pt>
                <c:pt idx="3">
                  <c:v>6.0764705054061299E-2</c:v>
                </c:pt>
                <c:pt idx="4">
                  <c:v>0.15431247015445773</c:v>
                </c:pt>
                <c:pt idx="5">
                  <c:v>2.301175915756459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1">
                  <c:v>3.5184438234619739E-2</c:v>
                </c:pt>
                <c:pt idx="2">
                  <c:v>1.6323489573409157E-2</c:v>
                </c:pt>
                <c:pt idx="3">
                  <c:v>1.8833429598541999E-2</c:v>
                </c:pt>
                <c:pt idx="4">
                  <c:v>7.4887281560795188E-2</c:v>
                </c:pt>
                <c:pt idx="5">
                  <c:v>3.928011788642274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chick</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5.194401099585591E-2</c:v>
                </c:pt>
                <c:pt idx="3">
                  <c:v>3.7761840759744703E-2</c:v>
                </c:pt>
                <c:pt idx="4">
                  <c:v>2.837345168030271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3">
                  <c:v>1.5253670558965692E-3</c:v>
                </c:pt>
                <c:pt idx="4">
                  <c:v>1.746224223270438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43990000000000001</c:v>
                </c:pt>
                <c:pt idx="3">
                  <c:v>0.31979999999999997</c:v>
                </c:pt>
                <c:pt idx="4">
                  <c:v>0.2403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2225656363332625</c:v>
                </c:pt>
                <c:pt idx="1">
                  <c:v>0.23469339604185141</c:v>
                </c:pt>
                <c:pt idx="2">
                  <c:v>7.286008721317605E-2</c:v>
                </c:pt>
                <c:pt idx="3">
                  <c:v>0.14124119972580332</c:v>
                </c:pt>
                <c:pt idx="4">
                  <c:v>0.36641748151299414</c:v>
                </c:pt>
                <c:pt idx="5">
                  <c:v>6.231242980305585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5.194401099585591E-2</c:v>
                </c:pt>
                <c:pt idx="3">
                  <c:v>3.7761840759744703E-2</c:v>
                </c:pt>
                <c:pt idx="4">
                  <c:v>2.837345168030271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12225610621853797</c:v>
                </c:pt>
                <c:pt idx="1">
                  <c:v>0.1237569644955754</c:v>
                </c:pt>
                <c:pt idx="2">
                  <c:v>5.6536115499854905E-2</c:v>
                </c:pt>
                <c:pt idx="3">
                  <c:v>6.0764705054061299E-2</c:v>
                </c:pt>
                <c:pt idx="4">
                  <c:v>0.15431247015445773</c:v>
                </c:pt>
                <c:pt idx="5">
                  <c:v>2.301175915756459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1">
                  <c:v>3.5184438234619739E-2</c:v>
                </c:pt>
                <c:pt idx="2">
                  <c:v>1.6323489573409157E-2</c:v>
                </c:pt>
                <c:pt idx="3">
                  <c:v>1.8833429598541999E-2</c:v>
                </c:pt>
                <c:pt idx="4">
                  <c:v>7.4887281560795188E-2</c:v>
                </c:pt>
                <c:pt idx="5">
                  <c:v>3.928011788642274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quat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2.3807982315800332E-2</c:v>
                </c:pt>
                <c:pt idx="3">
                  <c:v>2.2355789263468605E-2</c:v>
                </c:pt>
                <c:pt idx="4">
                  <c:v>0.10709791790598773</c:v>
                </c:pt>
                <c:pt idx="5">
                  <c:v>2.0521852663902753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3">
                  <c:v>1.5253670558965692E-3</c:v>
                </c:pt>
                <c:pt idx="4">
                  <c:v>1.746224223270438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8.9700000000000002E-2</c:v>
                </c:pt>
                <c:pt idx="4">
                  <c:v>0.87580000000000002</c:v>
                </c:pt>
                <c:pt idx="5">
                  <c:v>2.4299999999999999E-2</c:v>
                </c:pt>
                <c:pt idx="6">
                  <c:v>1.03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5228443918668262E-3</c:v>
                </c:pt>
                <c:pt idx="1">
                  <c:v>3.1670533734711605E-2</c:v>
                </c:pt>
                <c:pt idx="2">
                  <c:v>2.6639611183844846E-2</c:v>
                </c:pt>
                <c:pt idx="3">
                  <c:v>7.1778221668329367E-2</c:v>
                </c:pt>
                <c:pt idx="4">
                  <c:v>0.30537797464052857</c:v>
                </c:pt>
                <c:pt idx="5">
                  <c:v>0.39924401614678445</c:v>
                </c:pt>
                <c:pt idx="6">
                  <c:v>0.1587667982339343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0">
                  <c:v>5.502247332484834E-3</c:v>
                </c:pt>
                <c:pt idx="4">
                  <c:v>5.373763721685982E-2</c:v>
                </c:pt>
                <c:pt idx="5">
                  <c:v>1.490568887263349E-3</c:v>
                </c:pt>
                <c:pt idx="6">
                  <c:v>6.3035671089223992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6.6866745176895781E-4</c:v>
                </c:pt>
                <c:pt idx="1">
                  <c:v>2.9745400297778533E-2</c:v>
                </c:pt>
                <c:pt idx="2">
                  <c:v>2.0426087336665819E-2</c:v>
                </c:pt>
                <c:pt idx="3">
                  <c:v>7.1728207278977912E-2</c:v>
                </c:pt>
                <c:pt idx="4">
                  <c:v>0.16641770072965664</c:v>
                </c:pt>
                <c:pt idx="5">
                  <c:v>0.21173322488151963</c:v>
                </c:pt>
                <c:pt idx="6">
                  <c:v>0.1514540383880567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bg P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1">
                  <c:v>1.9248999626156733E-3</c:v>
                </c:pt>
                <c:pt idx="4">
                  <c:v>7.5805518946732702E-4</c:v>
                </c:pt>
                <c:pt idx="5">
                  <c:v>6.1716601061131797E-3</c:v>
                </c:pt>
                <c:pt idx="6">
                  <c:v>2.63940321210673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2">
                  <c:v>6.0797251037467822E-3</c:v>
                </c:pt>
                <c:pt idx="4">
                  <c:v>6.4870928887000537E-2</c:v>
                </c:pt>
                <c:pt idx="5">
                  <c:v>0.1250039454914695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4">
                  <c:v>1.9334035163117953E-2</c:v>
                </c:pt>
                <c:pt idx="5">
                  <c:v>5.4699584330407114E-2</c:v>
                </c:pt>
                <c:pt idx="6">
                  <c:v>3.462439093322842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84</c:v>
                </c:pt>
                <c:pt idx="1">
                  <c:v>0.26719999999999999</c:v>
                </c:pt>
                <c:pt idx="3">
                  <c:v>0.20899999999999999</c:v>
                </c:pt>
                <c:pt idx="4">
                  <c:v>0.32590000000000002</c:v>
                </c:pt>
                <c:pt idx="5">
                  <c:v>4.0000000000000001E-3</c:v>
                </c:pt>
                <c:pt idx="6">
                  <c:v>7.0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5228443918668262E-3</c:v>
                </c:pt>
                <c:pt idx="1">
                  <c:v>3.1670533734711605E-2</c:v>
                </c:pt>
                <c:pt idx="2">
                  <c:v>2.6639611183844846E-2</c:v>
                </c:pt>
                <c:pt idx="3">
                  <c:v>7.1778221668329367E-2</c:v>
                </c:pt>
                <c:pt idx="4">
                  <c:v>0.30537797464052857</c:v>
                </c:pt>
                <c:pt idx="5">
                  <c:v>0.39924401614678445</c:v>
                </c:pt>
                <c:pt idx="6">
                  <c:v>0.1587667982339343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5">
                  <c:v>7.184055631781428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6.6866745176895781E-4</c:v>
                </c:pt>
                <c:pt idx="1">
                  <c:v>2.9745400297778533E-2</c:v>
                </c:pt>
                <c:pt idx="2">
                  <c:v>2.0426087336665819E-2</c:v>
                </c:pt>
                <c:pt idx="3">
                  <c:v>7.1728207278977912E-2</c:v>
                </c:pt>
                <c:pt idx="4">
                  <c:v>0.16641770072965664</c:v>
                </c:pt>
                <c:pt idx="5">
                  <c:v>0.21173322488151963</c:v>
                </c:pt>
                <c:pt idx="6">
                  <c:v>0.1514540383880567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5.502247332484834E-3</c:v>
                </c:pt>
                <c:pt idx="4">
                  <c:v>5.373763721685982E-2</c:v>
                </c:pt>
                <c:pt idx="5">
                  <c:v>1.490568887263349E-3</c:v>
                </c:pt>
                <c:pt idx="6">
                  <c:v>6.3035671089223992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 P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1.9248999626156733E-3</c:v>
                </c:pt>
                <c:pt idx="4">
                  <c:v>7.5805518946732702E-4</c:v>
                </c:pt>
                <c:pt idx="5">
                  <c:v>6.1716601061131797E-3</c:v>
                </c:pt>
                <c:pt idx="6">
                  <c:v>2.63940321210673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2">
                  <c:v>6.0797251037467822E-3</c:v>
                </c:pt>
                <c:pt idx="4">
                  <c:v>8.4204964050118486E-2</c:v>
                </c:pt>
                <c:pt idx="5">
                  <c:v>0.1725194741900952</c:v>
                </c:pt>
                <c:pt idx="6">
                  <c:v>3.462439093322842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0.11119999999999999</c:v>
                </c:pt>
                <c:pt idx="5">
                  <c:v>0.8888000000000000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5228443918668262E-3</c:v>
                </c:pt>
                <c:pt idx="1">
                  <c:v>3.1670533734711605E-2</c:v>
                </c:pt>
                <c:pt idx="2">
                  <c:v>2.6639611183844846E-2</c:v>
                </c:pt>
                <c:pt idx="3">
                  <c:v>7.1778221668329367E-2</c:v>
                </c:pt>
                <c:pt idx="4">
                  <c:v>0.30537797464052857</c:v>
                </c:pt>
                <c:pt idx="5">
                  <c:v>0.39924401614678445</c:v>
                </c:pt>
                <c:pt idx="6">
                  <c:v>0.1587667982339343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4">
                  <c:v>2.3339948588655982E-4</c:v>
                </c:pt>
                <c:pt idx="5">
                  <c:v>1.8648431843556164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6.6866745176895781E-4</c:v>
                </c:pt>
                <c:pt idx="1">
                  <c:v>2.9745400297778533E-2</c:v>
                </c:pt>
                <c:pt idx="2">
                  <c:v>2.0426087336665819E-2</c:v>
                </c:pt>
                <c:pt idx="3">
                  <c:v>7.1728207278977912E-2</c:v>
                </c:pt>
                <c:pt idx="4">
                  <c:v>0.16641770072965664</c:v>
                </c:pt>
                <c:pt idx="5">
                  <c:v>0.21173322488151963</c:v>
                </c:pt>
                <c:pt idx="6">
                  <c:v>0.1514540383880567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5.502247332484834E-3</c:v>
                </c:pt>
                <c:pt idx="4">
                  <c:v>5.373763721685982E-2</c:v>
                </c:pt>
                <c:pt idx="5">
                  <c:v>1.490568887263349E-3</c:v>
                </c:pt>
                <c:pt idx="6">
                  <c:v>6.3035671089223992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 P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1.9248999626156733E-3</c:v>
                </c:pt>
                <c:pt idx="4">
                  <c:v>7.5805518946732702E-4</c:v>
                </c:pt>
                <c:pt idx="5">
                  <c:v>6.1716601061131797E-3</c:v>
                </c:pt>
                <c:pt idx="6">
                  <c:v>2.63940321210673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2">
                  <c:v>6.0797251037467822E-3</c:v>
                </c:pt>
                <c:pt idx="4">
                  <c:v>8.3971564564231937E-2</c:v>
                </c:pt>
                <c:pt idx="5">
                  <c:v>0.177838686637521</c:v>
                </c:pt>
                <c:pt idx="6">
                  <c:v>3.462439093322842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54324023857984727</c:v>
                </c:pt>
                <c:pt idx="2">
                  <c:v>0.42681236381721799</c:v>
                </c:pt>
                <c:pt idx="3">
                  <c:v>2.992714829812869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4">
                  <c:v>1.649739001910111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1">
                  <c:v>0.5414757903008478</c:v>
                </c:pt>
                <c:pt idx="2">
                  <c:v>0.31502384203909067</c:v>
                </c:pt>
                <c:pt idx="3">
                  <c:v>2.992714829812869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bg P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1">
                  <c:v>1.76444827899944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2">
                  <c:v>0.1117734589437620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0.99939999999999996</c:v>
                </c:pt>
                <c:pt idx="5">
                  <c:v>5.9999999999999995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5061038995785681</c:v>
                </c:pt>
                <c:pt idx="1">
                  <c:v>0.18589452264454054</c:v>
                </c:pt>
                <c:pt idx="2">
                  <c:v>8.9515318646496797E-2</c:v>
                </c:pt>
                <c:pt idx="3">
                  <c:v>0.109165756310403</c:v>
                </c:pt>
                <c:pt idx="4">
                  <c:v>0.37774939899404358</c:v>
                </c:pt>
                <c:pt idx="5">
                  <c:v>8.3517552463415065E-2</c:v>
                </c:pt>
                <c:pt idx="6">
                  <c:v>3.54706098324419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5.4983727471242094E-3</c:v>
                </c:pt>
                <c:pt idx="3">
                  <c:v>0.13522590969935899</c:v>
                </c:pt>
                <c:pt idx="4">
                  <c:v>0.3640189233588918</c:v>
                </c:pt>
                <c:pt idx="5">
                  <c:v>0.42937027074578871</c:v>
                </c:pt>
                <c:pt idx="6">
                  <c:v>6.588496065223424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4">
                  <c:v>5.1400207604808137E-2</c:v>
                </c:pt>
                <c:pt idx="5">
                  <c:v>2.8402919638418294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2">
                  <c:v>5.4972915099402771E-3</c:v>
                </c:pt>
                <c:pt idx="3">
                  <c:v>0.13521802302813501</c:v>
                </c:pt>
                <c:pt idx="4">
                  <c:v>0.20421134069158547</c:v>
                </c:pt>
                <c:pt idx="5">
                  <c:v>0.2376639287318229</c:v>
                </c:pt>
                <c:pt idx="6">
                  <c:v>6.586845134161908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Van Der Hage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4">
                  <c:v>2.987918092158261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4">
                  <c:v>7.8527367312480847E-2</c:v>
                </c:pt>
                <c:pt idx="5">
                  <c:v>0.12370616341902389</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5">
                  <c:v>6.797170298708944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5.4983727471242094E-3</c:v>
                </c:pt>
                <c:pt idx="3">
                  <c:v>0.13522590969935899</c:v>
                </c:pt>
                <c:pt idx="4">
                  <c:v>0.3640189233588918</c:v>
                </c:pt>
                <c:pt idx="5">
                  <c:v>0.42937027074578871</c:v>
                </c:pt>
                <c:pt idx="6">
                  <c:v>6.588496065223424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5">
                  <c:v>2.157391644497064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2">
                  <c:v>5.4972915099402771E-3</c:v>
                </c:pt>
                <c:pt idx="3">
                  <c:v>0.13521802302813501</c:v>
                </c:pt>
                <c:pt idx="4">
                  <c:v>0.20421134069158547</c:v>
                </c:pt>
                <c:pt idx="5">
                  <c:v>0.2376639287318229</c:v>
                </c:pt>
                <c:pt idx="6">
                  <c:v>6.586845134161908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Van Der Hage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4">
                  <c:v>2.987918092158261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chick</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4">
                  <c:v>5.1400207604808137E-2</c:v>
                </c:pt>
                <c:pt idx="5">
                  <c:v>2.8402919638418294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4">
                  <c:v>7.8527367312480847E-2</c:v>
                </c:pt>
                <c:pt idx="5">
                  <c:v>0.170103949961142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5.4983727471242094E-3</c:v>
                </c:pt>
                <c:pt idx="3">
                  <c:v>0.13522590969935899</c:v>
                </c:pt>
                <c:pt idx="4">
                  <c:v>0.3640189233588918</c:v>
                </c:pt>
                <c:pt idx="5">
                  <c:v>0.42937027074578871</c:v>
                </c:pt>
                <c:pt idx="6">
                  <c:v>6.588496065223424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5">
                  <c:v>8.1495299780187202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2">
                  <c:v>5.4972915099402771E-3</c:v>
                </c:pt>
                <c:pt idx="3">
                  <c:v>0.13521802302813501</c:v>
                </c:pt>
                <c:pt idx="4">
                  <c:v>0.20421134069158547</c:v>
                </c:pt>
                <c:pt idx="5">
                  <c:v>0.2376639287318229</c:v>
                </c:pt>
                <c:pt idx="6">
                  <c:v>6.586845134161908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Van Der Hage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4">
                  <c:v>2.987918092158261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chick</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4">
                  <c:v>5.1400207604808137E-2</c:v>
                </c:pt>
                <c:pt idx="5">
                  <c:v>2.8402919638418294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4">
                  <c:v>7.8527367312480847E-2</c:v>
                </c:pt>
                <c:pt idx="5">
                  <c:v>0.1908629134083114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38550000000000001</c:v>
                </c:pt>
                <c:pt idx="3">
                  <c:v>0.55210000000000004</c:v>
                </c:pt>
                <c:pt idx="4">
                  <c:v>6.1699999999999998E-2</c:v>
                </c:pt>
                <c:pt idx="5">
                  <c:v>6.9999999999999999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3267101964268471</c:v>
                </c:pt>
                <c:pt idx="1">
                  <c:v>0.16200402769303471</c:v>
                </c:pt>
                <c:pt idx="2">
                  <c:v>3.7776673515019753E-2</c:v>
                </c:pt>
                <c:pt idx="3">
                  <c:v>0.2408508229500777</c:v>
                </c:pt>
                <c:pt idx="4">
                  <c:v>0.42055301597751588</c:v>
                </c:pt>
                <c:pt idx="5">
                  <c:v>6.144440221667251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0">
                  <c:v>2.6014033700423444E-2</c:v>
                </c:pt>
                <c:pt idx="1">
                  <c:v>3.7779731132604272E-2</c:v>
                </c:pt>
                <c:pt idx="3">
                  <c:v>2.9539200911838235E-2</c:v>
                </c:pt>
                <c:pt idx="4">
                  <c:v>4.6072220729008052E-2</c:v>
                </c:pt>
                <c:pt idx="5">
                  <c:v>5.6852108864877831E-4</c:v>
                </c:pt>
                <c:pt idx="6">
                  <c:v>9.9268106411151387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1182769105731829</c:v>
                </c:pt>
                <c:pt idx="1">
                  <c:v>0.10106584465926606</c:v>
                </c:pt>
                <c:pt idx="2">
                  <c:v>7.2774094199017966E-2</c:v>
                </c:pt>
                <c:pt idx="3">
                  <c:v>5.0517347474391988E-2</c:v>
                </c:pt>
                <c:pt idx="4">
                  <c:v>0.17098142814481687</c:v>
                </c:pt>
                <c:pt idx="5">
                  <c:v>2.3324613394008813E-2</c:v>
                </c:pt>
                <c:pt idx="6">
                  <c:v>8.1588745286530402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bg</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6.1328476022895842E-4</c:v>
                </c:pt>
                <c:pt idx="1">
                  <c:v>1.5961440770254076E-2</c:v>
                </c:pt>
                <c:pt idx="2">
                  <c:v>2.1120060877211221E-3</c:v>
                </c:pt>
                <c:pt idx="3">
                  <c:v>1.3468019175981186E-2</c:v>
                </c:pt>
                <c:pt idx="4">
                  <c:v>6.7877586034700232E-2</c:v>
                </c:pt>
                <c:pt idx="5">
                  <c:v>3.8776379336077655E-3</c:v>
                </c:pt>
                <c:pt idx="6">
                  <c:v>5.7310370689912294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0">
                  <c:v>9.7463997416647222E-4</c:v>
                </c:pt>
                <c:pt idx="1">
                  <c:v>2.9701212231885762E-2</c:v>
                </c:pt>
                <c:pt idx="2">
                  <c:v>1.2926324328569815E-2</c:v>
                </c:pt>
                <c:pt idx="3">
                  <c:v>1.393143374707847E-2</c:v>
                </c:pt>
                <c:pt idx="4">
                  <c:v>7.310886288454832E-2</c:v>
                </c:pt>
                <c:pt idx="5">
                  <c:v>5.5517588666531149E-2</c:v>
                </c:pt>
                <c:pt idx="6">
                  <c:v>5.836316352546505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0">
                  <c:v>4.73152094985505E-3</c:v>
                </c:pt>
                <c:pt idx="1">
                  <c:v>1.3652012810435052E-3</c:v>
                </c:pt>
                <c:pt idx="2">
                  <c:v>1.1005777526241034E-3</c:v>
                </c:pt>
                <c:pt idx="3">
                  <c:v>1.4082696862115645E-3</c:v>
                </c:pt>
                <c:pt idx="4">
                  <c:v>1.9709301200970135E-2</c:v>
                </c:pt>
                <c:pt idx="6">
                  <c:v>5.0868790238862451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1.6115276983436608E-2</c:v>
                </c:pt>
                <c:pt idx="3">
                  <c:v>2.3079205196762185E-2</c:v>
                </c:pt>
                <c:pt idx="4">
                  <c:v>2.5801382084320442E-3</c:v>
                </c:pt>
                <c:pt idx="5">
                  <c:v>3.127479731886642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13039562578076344</c:v>
                </c:pt>
                <c:pt idx="1">
                  <c:v>0.11918078166209056</c:v>
                </c:pt>
                <c:pt idx="2">
                  <c:v>3.2014073887509896E-2</c:v>
                </c:pt>
                <c:pt idx="3">
                  <c:v>0.1576150365612369</c:v>
                </c:pt>
                <c:pt idx="4">
                  <c:v>0.28420605321103715</c:v>
                </c:pt>
                <c:pt idx="5">
                  <c:v>5.8162784997236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2.24233999837214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quat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1.0354150984423426E-3</c:v>
                </c:pt>
                <c:pt idx="3">
                  <c:v>3.2891489375780538E-3</c:v>
                </c:pt>
                <c:pt idx="4">
                  <c:v>6.704505904734570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2.5417639380296023E-2</c:v>
                </c:pt>
                <c:pt idx="2">
                  <c:v>5.6970477681352848E-3</c:v>
                </c:pt>
                <c:pt idx="3">
                  <c:v>5.6469093680012551E-2</c:v>
                </c:pt>
                <c:pt idx="4">
                  <c:v>0.1265371307747623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9.3899999999999997E-2</c:v>
                </c:pt>
                <c:pt idx="3">
                  <c:v>0.29820000000000002</c:v>
                </c:pt>
                <c:pt idx="4">
                  <c:v>0.607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3267101964268471</c:v>
                </c:pt>
                <c:pt idx="1">
                  <c:v>0.16200402769303471</c:v>
                </c:pt>
                <c:pt idx="2">
                  <c:v>3.7776673515019753E-2</c:v>
                </c:pt>
                <c:pt idx="3">
                  <c:v>0.2408508229500777</c:v>
                </c:pt>
                <c:pt idx="4">
                  <c:v>0.42055301597751588</c:v>
                </c:pt>
                <c:pt idx="5">
                  <c:v>6.144440221667251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1.0354150984423426E-3</c:v>
                </c:pt>
                <c:pt idx="3">
                  <c:v>3.2891489375780538E-3</c:v>
                </c:pt>
                <c:pt idx="4">
                  <c:v>6.704505904734570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13039562578076344</c:v>
                </c:pt>
                <c:pt idx="1">
                  <c:v>0.11918078166209056</c:v>
                </c:pt>
                <c:pt idx="2">
                  <c:v>3.2014073887509896E-2</c:v>
                </c:pt>
                <c:pt idx="3">
                  <c:v>0.1576150365612369</c:v>
                </c:pt>
                <c:pt idx="4">
                  <c:v>0.28420605321103715</c:v>
                </c:pt>
                <c:pt idx="5">
                  <c:v>5.8162784997236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2.24233999837214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chick</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1.6115276983436608E-2</c:v>
                </c:pt>
                <c:pt idx="3">
                  <c:v>2.3079205196762185E-2</c:v>
                </c:pt>
                <c:pt idx="4">
                  <c:v>2.5801382084320442E-3</c:v>
                </c:pt>
                <c:pt idx="5">
                  <c:v>3.127479731886642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2.5417639380296023E-2</c:v>
                </c:pt>
                <c:pt idx="2">
                  <c:v>5.6970477681352848E-3</c:v>
                </c:pt>
                <c:pt idx="3">
                  <c:v>5.6469093680012551E-2</c:v>
                </c:pt>
                <c:pt idx="4">
                  <c:v>0.1265371307747623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3267101964268471</c:v>
                </c:pt>
                <c:pt idx="1">
                  <c:v>0.16200402769303471</c:v>
                </c:pt>
                <c:pt idx="2">
                  <c:v>3.7776673515019753E-2</c:v>
                </c:pt>
                <c:pt idx="3">
                  <c:v>0.2408508229500777</c:v>
                </c:pt>
                <c:pt idx="4">
                  <c:v>0.42055301597751588</c:v>
                </c:pt>
                <c:pt idx="5">
                  <c:v>6.144440221667251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4">
                  <c:v>1.5783835062894284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13039562578076344</c:v>
                </c:pt>
                <c:pt idx="1">
                  <c:v>0.11918078166209056</c:v>
                </c:pt>
                <c:pt idx="2">
                  <c:v>3.2014073887509896E-2</c:v>
                </c:pt>
                <c:pt idx="3">
                  <c:v>0.1576150365612369</c:v>
                </c:pt>
                <c:pt idx="4">
                  <c:v>0.28420605321103715</c:v>
                </c:pt>
                <c:pt idx="5">
                  <c:v>5.8162784997236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2.24233999837214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chick</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1.6115276983436608E-2</c:v>
                </c:pt>
                <c:pt idx="3">
                  <c:v>2.3079205196762185E-2</c:v>
                </c:pt>
                <c:pt idx="4">
                  <c:v>2.5801382084320442E-3</c:v>
                </c:pt>
                <c:pt idx="5">
                  <c:v>3.127479731886642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2.6453054478738365E-2</c:v>
                </c:pt>
                <c:pt idx="2">
                  <c:v>5.6970477681352848E-3</c:v>
                </c:pt>
                <c:pt idx="3">
                  <c:v>5.9758242617590607E-2</c:v>
                </c:pt>
                <c:pt idx="4">
                  <c:v>0.1316632531732074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3831</c:v>
                </c:pt>
                <c:pt idx="3">
                  <c:v>0.60470000000000002</c:v>
                </c:pt>
                <c:pt idx="4">
                  <c:v>1.2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8.4745449230528187E-3</c:v>
                </c:pt>
                <c:pt idx="1">
                  <c:v>0.17622417051869113</c:v>
                </c:pt>
                <c:pt idx="2">
                  <c:v>1.9961535085222713E-2</c:v>
                </c:pt>
                <c:pt idx="3">
                  <c:v>0.28144180473221769</c:v>
                </c:pt>
                <c:pt idx="4">
                  <c:v>0.5138966648904319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1.7712733908330572E-2</c:v>
                </c:pt>
                <c:pt idx="3">
                  <c:v>2.7956807255473906E-2</c:v>
                </c:pt>
                <c:pt idx="4">
                  <c:v>5.611727720654569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8.4740402666007436E-3</c:v>
                </c:pt>
                <c:pt idx="1">
                  <c:v>0.1148011955072028</c:v>
                </c:pt>
                <c:pt idx="2">
                  <c:v>6.4519494974992634E-3</c:v>
                </c:pt>
                <c:pt idx="3">
                  <c:v>0.15646647501895675</c:v>
                </c:pt>
                <c:pt idx="4">
                  <c:v>0.3309044530453511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1">
                  <c:v>4.0020432447189377E-2</c:v>
                </c:pt>
                <c:pt idx="3">
                  <c:v>6.9041575768024555E-2</c:v>
                </c:pt>
                <c:pt idx="4">
                  <c:v>0.1343528767163255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quat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3.668378966008563E-3</c:v>
                </c:pt>
                <c:pt idx="3">
                  <c:v>1.1710448917563156E-2</c:v>
                </c:pt>
                <c:pt idx="4">
                  <c:v>2.384168246592540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2">
                  <c:v>1.35095491692166E-2</c:v>
                </c:pt>
                <c:pt idx="3">
                  <c:v>1.6266497772199295E-2</c:v>
                </c:pt>
                <c:pt idx="4">
                  <c:v>2.422814525533943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9.35E-2</c:v>
                </c:pt>
                <c:pt idx="3">
                  <c:v>0.29859999999999998</c:v>
                </c:pt>
                <c:pt idx="4">
                  <c:v>0.607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8.4745449230528187E-3</c:v>
                </c:pt>
                <c:pt idx="1">
                  <c:v>0.17622417051869113</c:v>
                </c:pt>
                <c:pt idx="2">
                  <c:v>1.9961535085222713E-2</c:v>
                </c:pt>
                <c:pt idx="3">
                  <c:v>0.28144180473221769</c:v>
                </c:pt>
                <c:pt idx="4">
                  <c:v>0.5138966648904319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3.668378966008563E-3</c:v>
                </c:pt>
                <c:pt idx="3">
                  <c:v>1.1710448917563156E-2</c:v>
                </c:pt>
                <c:pt idx="4">
                  <c:v>2.384168246592540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8.4740402666007436E-3</c:v>
                </c:pt>
                <c:pt idx="1">
                  <c:v>0.1148011955072028</c:v>
                </c:pt>
                <c:pt idx="2">
                  <c:v>6.4519494974992634E-3</c:v>
                </c:pt>
                <c:pt idx="3">
                  <c:v>0.15646647501895675</c:v>
                </c:pt>
                <c:pt idx="4">
                  <c:v>0.3309044530453511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1">
                  <c:v>1.7712733908330572E-2</c:v>
                </c:pt>
                <c:pt idx="3">
                  <c:v>2.7956807255473906E-2</c:v>
                </c:pt>
                <c:pt idx="4">
                  <c:v>5.611727720654569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4.0020432447189377E-2</c:v>
                </c:pt>
                <c:pt idx="3">
                  <c:v>6.9041575768024555E-2</c:v>
                </c:pt>
                <c:pt idx="4">
                  <c:v>0.1343528767163255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2">
                  <c:v>1.35095491692166E-2</c:v>
                </c:pt>
                <c:pt idx="3">
                  <c:v>1.6266497772199295E-2</c:v>
                </c:pt>
                <c:pt idx="4">
                  <c:v>2.422814525533943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8.4745449230528187E-3</c:v>
                </c:pt>
                <c:pt idx="1">
                  <c:v>0.17622417051869113</c:v>
                </c:pt>
                <c:pt idx="2">
                  <c:v>1.9961535085222713E-2</c:v>
                </c:pt>
                <c:pt idx="3">
                  <c:v>0.28144180473221769</c:v>
                </c:pt>
                <c:pt idx="4">
                  <c:v>0.5138966648904319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4">
                  <c:v>2.2476461899605861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8.4740402666007436E-3</c:v>
                </c:pt>
                <c:pt idx="1">
                  <c:v>0.1148011955072028</c:v>
                </c:pt>
                <c:pt idx="2">
                  <c:v>6.4519494974992634E-3</c:v>
                </c:pt>
                <c:pt idx="3">
                  <c:v>0.15646647501895675</c:v>
                </c:pt>
                <c:pt idx="4">
                  <c:v>0.3309044530453511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1">
                  <c:v>1.7712733908330572E-2</c:v>
                </c:pt>
                <c:pt idx="3">
                  <c:v>2.7956807255473906E-2</c:v>
                </c:pt>
                <c:pt idx="4">
                  <c:v>5.611727720654569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4.0020432447189377E-2</c:v>
                </c:pt>
                <c:pt idx="3">
                  <c:v>6.9041575768024555E-2</c:v>
                </c:pt>
                <c:pt idx="4">
                  <c:v>0.1343528767163255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3.668378966008563E-3</c:v>
                </c:pt>
                <c:pt idx="2">
                  <c:v>1.35095491692166E-2</c:v>
                </c:pt>
                <c:pt idx="3">
                  <c:v>2.7976946689762451E-2</c:v>
                </c:pt>
                <c:pt idx="4">
                  <c:v>4.784506310226878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2764221051723224E-2</c:v>
                </c:pt>
                <c:pt idx="1">
                  <c:v>0.83308190082972733</c:v>
                </c:pt>
                <c:pt idx="2">
                  <c:v>3.9463928152270629E-3</c:v>
                </c:pt>
                <c:pt idx="3">
                  <c:v>8.5159784840973494E-3</c:v>
                </c:pt>
                <c:pt idx="4">
                  <c:v>4.7464640372674796E-2</c:v>
                </c:pt>
                <c:pt idx="5">
                  <c:v>2.1853886415108964E-2</c:v>
                </c:pt>
                <c:pt idx="6">
                  <c:v>2.112692713742787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3">
                  <c:v>7.189895884122025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1.2735872492578858E-2</c:v>
                </c:pt>
                <c:pt idx="1">
                  <c:v>0.81578803170189063</c:v>
                </c:pt>
                <c:pt idx="3">
                  <c:v>1.2288535795137265E-3</c:v>
                </c:pt>
                <c:pt idx="4">
                  <c:v>1.131208542460911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bg P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1">
                  <c:v>6.761279933285202E-3</c:v>
                </c:pt>
                <c:pt idx="2">
                  <c:v>1.4192703164079559E-3</c:v>
                </c:pt>
                <c:pt idx="4">
                  <c:v>1.418259990400714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1.0340330098467561E-2</c:v>
                </c:pt>
                <c:pt idx="2">
                  <c:v>2.504479310068576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4">
                  <c:v>4.4899600933113328E-2</c:v>
                </c:pt>
                <c:pt idx="5">
                  <c:v>2.1853529829459348E-2</c:v>
                </c:pt>
                <c:pt idx="6">
                  <c:v>2.112692713742787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07535690818404</c:v>
                </c:pt>
                <c:pt idx="1">
                  <c:v>0.1397182121099238</c:v>
                </c:pt>
                <c:pt idx="2">
                  <c:v>4.9530846352275504E-2</c:v>
                </c:pt>
                <c:pt idx="3">
                  <c:v>0.16819133898787419</c:v>
                </c:pt>
                <c:pt idx="4">
                  <c:v>0.38554060799969914</c:v>
                </c:pt>
                <c:pt idx="5">
                  <c:v>0.11409393680722739</c:v>
                </c:pt>
                <c:pt idx="6">
                  <c:v>3.538936692459599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97670109124038729</c:v>
                </c:pt>
                <c:pt idx="2">
                  <c:v>2.329798829949182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9994641041997760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3">
                  <c:v>1.2642364880774597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1">
                  <c:v>0.9994641041997760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Other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numCache>
            </c:numRef>
          </c:val>
          <c:extLst>
            <c:ext xmlns:c16="http://schemas.microsoft.com/office/drawing/2014/chart" uri="{C3380CC4-5D6E-409C-BE32-E72D297353CC}">
              <c16:uniqueId val="{00000006-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99</c:v>
                </c:pt>
                <c:pt idx="5">
                  <c:v>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5513193560912889</c:v>
                </c:pt>
                <c:pt idx="1">
                  <c:v>0.26155783820324269</c:v>
                </c:pt>
                <c:pt idx="2">
                  <c:v>0.26371445519560888</c:v>
                </c:pt>
                <c:pt idx="3">
                  <c:v>4.5805767696285873E-2</c:v>
                </c:pt>
                <c:pt idx="4">
                  <c:v>0.14935846597364114</c:v>
                </c:pt>
                <c:pt idx="5">
                  <c:v>2.0288100764899925E-2</c:v>
                </c:pt>
                <c:pt idx="6">
                  <c:v>4.143436557192535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5.9160613445339509E-2</c:v>
                </c:pt>
                <c:pt idx="5">
                  <c:v>5.9718038771848264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bg P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1.4545146559238472E-3</c:v>
                </c:pt>
                <c:pt idx="1">
                  <c:v>1.6577124594016439E-2</c:v>
                </c:pt>
                <c:pt idx="2">
                  <c:v>5.5475523257286219E-3</c:v>
                </c:pt>
                <c:pt idx="4">
                  <c:v>3.5489924477583356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illet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0.24199726641848096</c:v>
                </c:pt>
                <c:pt idx="1">
                  <c:v>0.16430081740584351</c:v>
                </c:pt>
                <c:pt idx="2">
                  <c:v>0.21767944763649197</c:v>
                </c:pt>
                <c:pt idx="3">
                  <c:v>2.8640965601588783E-2</c:v>
                </c:pt>
                <c:pt idx="4">
                  <c:v>9.6001992682312701E-2</c:v>
                </c:pt>
                <c:pt idx="5">
                  <c:v>1.9415786113957684E-2</c:v>
                </c:pt>
                <c:pt idx="6">
                  <c:v>3.851775963392587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0">
                  <c:v>1.0821387918680397E-2</c:v>
                </c:pt>
                <c:pt idx="1">
                  <c:v>2.2629762280588573E-3</c:v>
                </c:pt>
                <c:pt idx="2">
                  <c:v>2.1101990441429203E-3</c:v>
                </c:pt>
                <c:pt idx="3">
                  <c:v>2.5846469786373273E-3</c:v>
                </c:pt>
                <c:pt idx="4">
                  <c:v>2.600550978773410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1.9224044129708344E-2</c:v>
                </c:pt>
                <c:pt idx="2">
                  <c:v>3.7653535278705033E-2</c:v>
                </c:pt>
                <c:pt idx="3">
                  <c:v>1.4577186698643059E-2</c:v>
                </c:pt>
                <c:pt idx="4">
                  <c:v>4.6768903078440005E-2</c:v>
                </c:pt>
                <c:pt idx="5">
                  <c:v>3.6707617705393874E-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68669999999999998</c:v>
                </c:pt>
                <c:pt idx="4">
                  <c:v>0.312</c:v>
                </c:pt>
                <c:pt idx="5">
                  <c:v>1.2999999999999999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5513193560912889</c:v>
                </c:pt>
                <c:pt idx="1">
                  <c:v>0.26155783820324269</c:v>
                </c:pt>
                <c:pt idx="2">
                  <c:v>0.26371445519560888</c:v>
                </c:pt>
                <c:pt idx="3">
                  <c:v>4.5805767696285873E-2</c:v>
                </c:pt>
                <c:pt idx="4">
                  <c:v>0.14935846597364114</c:v>
                </c:pt>
                <c:pt idx="5">
                  <c:v>2.0288100764899925E-2</c:v>
                </c:pt>
                <c:pt idx="6">
                  <c:v>4.143436557192535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1.9224044129708344E-2</c:v>
                </c:pt>
                <c:pt idx="4">
                  <c:v>8.7328963529840868E-3</c:v>
                </c:pt>
                <c:pt idx="5">
                  <c:v>3.6707617705393874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bg P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1.4545146559238472E-3</c:v>
                </c:pt>
                <c:pt idx="1">
                  <c:v>1.6577124594016439E-2</c:v>
                </c:pt>
                <c:pt idx="2">
                  <c:v>5.5475523257286219E-3</c:v>
                </c:pt>
                <c:pt idx="4">
                  <c:v>3.5489924477583356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illet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0.24199726641848096</c:v>
                </c:pt>
                <c:pt idx="1">
                  <c:v>0.16430081740584351</c:v>
                </c:pt>
                <c:pt idx="2">
                  <c:v>0.21767944763649197</c:v>
                </c:pt>
                <c:pt idx="3">
                  <c:v>2.8640965601588783E-2</c:v>
                </c:pt>
                <c:pt idx="4">
                  <c:v>9.6001992682312701E-2</c:v>
                </c:pt>
                <c:pt idx="5">
                  <c:v>1.9415786113957684E-2</c:v>
                </c:pt>
                <c:pt idx="6">
                  <c:v>3.851775963392587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0">
                  <c:v>1.0821387918680397E-2</c:v>
                </c:pt>
                <c:pt idx="1">
                  <c:v>2.2629762280588573E-3</c:v>
                </c:pt>
                <c:pt idx="2">
                  <c:v>2.1101990441429203E-3</c:v>
                </c:pt>
                <c:pt idx="3">
                  <c:v>2.5846469786373273E-3</c:v>
                </c:pt>
                <c:pt idx="4">
                  <c:v>2.600550978773410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5.9160613445339509E-2</c:v>
                </c:pt>
                <c:pt idx="2">
                  <c:v>3.7653535278705033E-2</c:v>
                </c:pt>
                <c:pt idx="3">
                  <c:v>1.4577186698643059E-2</c:v>
                </c:pt>
                <c:pt idx="4">
                  <c:v>3.8036006725455922E-2</c:v>
                </c:pt>
                <c:pt idx="5">
                  <c:v>5.9718038771848264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0080632615261782</c:v>
                </c:pt>
                <c:pt idx="1">
                  <c:v>0.30076512552965956</c:v>
                </c:pt>
                <c:pt idx="2">
                  <c:v>0.22849047259547942</c:v>
                </c:pt>
                <c:pt idx="3">
                  <c:v>2.2757313897630187E-2</c:v>
                </c:pt>
                <c:pt idx="4">
                  <c:v>0.12570237062361819</c:v>
                </c:pt>
                <c:pt idx="5">
                  <c:v>2.147839120099481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0">
                  <c:v>0.3741498043133523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5980034521698133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bg</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2.083350393585573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0">
                  <c:v>2.4644843636360868E-3</c:v>
                </c:pt>
                <c:pt idx="2">
                  <c:v>2.329798829949182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7.508943569336351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30080625010864781</c:v>
                </c:pt>
                <c:pt idx="1">
                  <c:v>0.16709710341978401</c:v>
                </c:pt>
                <c:pt idx="2">
                  <c:v>0.14883476379898822</c:v>
                </c:pt>
                <c:pt idx="3">
                  <c:v>1.4680136324937587E-2</c:v>
                </c:pt>
                <c:pt idx="4">
                  <c:v>4.9018505801995217E-2</c:v>
                </c:pt>
                <c:pt idx="5">
                  <c:v>2.142789800489975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Equa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1">
                  <c:v>5.8578586416512014E-2</c:v>
                </c:pt>
                <c:pt idx="4">
                  <c:v>2.6660057735927976E-2</c:v>
                </c:pt>
                <c:pt idx="5">
                  <c:v>5.0493196095056967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2">
                  <c:v>4.0161466899132067E-2</c:v>
                </c:pt>
                <c:pt idx="3">
                  <c:v>8.077177572692597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2">
                  <c:v>3.9492219127756502E-2</c:v>
                </c:pt>
                <c:pt idx="4">
                  <c:v>5.002380708569499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68679999999999997</c:v>
                </c:pt>
                <c:pt idx="4">
                  <c:v>0.31259999999999999</c:v>
                </c:pt>
                <c:pt idx="5">
                  <c:v>5.9999999999999995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0080632615261782</c:v>
                </c:pt>
                <c:pt idx="1">
                  <c:v>0.30076512552965956</c:v>
                </c:pt>
                <c:pt idx="2">
                  <c:v>0.22849047259547942</c:v>
                </c:pt>
                <c:pt idx="3">
                  <c:v>2.2757313897630187E-2</c:v>
                </c:pt>
                <c:pt idx="4">
                  <c:v>0.12570237062361819</c:v>
                </c:pt>
                <c:pt idx="5">
                  <c:v>2.147839120099481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5.8578586416512014E-2</c:v>
                </c:pt>
                <c:pt idx="4">
                  <c:v>2.6660057735927976E-2</c:v>
                </c:pt>
                <c:pt idx="5">
                  <c:v>5.0493196095056967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30080625010864781</c:v>
                </c:pt>
                <c:pt idx="1">
                  <c:v>0.16709710341978401</c:v>
                </c:pt>
                <c:pt idx="2">
                  <c:v>0.14883476379898822</c:v>
                </c:pt>
                <c:pt idx="3">
                  <c:v>1.4680136324937587E-2</c:v>
                </c:pt>
                <c:pt idx="4">
                  <c:v>4.9018505801995217E-2</c:v>
                </c:pt>
                <c:pt idx="5">
                  <c:v>2.142789800489975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1">
                  <c:v>7.508943569336351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2">
                  <c:v>4.0161466899132067E-2</c:v>
                </c:pt>
                <c:pt idx="3">
                  <c:v>8.077177572692597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2">
                  <c:v>3.9492219127756502E-2</c:v>
                </c:pt>
                <c:pt idx="4">
                  <c:v>5.002380708569499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3130000000000001</c:v>
                </c:pt>
                <c:pt idx="1">
                  <c:v>0.11650000000000001</c:v>
                </c:pt>
                <c:pt idx="3">
                  <c:v>0.26269999999999999</c:v>
                </c:pt>
                <c:pt idx="4">
                  <c:v>0.38040000000000002</c:v>
                </c:pt>
                <c:pt idx="6">
                  <c:v>8.8000000000000005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4791892300228154</c:v>
                </c:pt>
                <c:pt idx="1">
                  <c:v>0.10032653689726162</c:v>
                </c:pt>
                <c:pt idx="2">
                  <c:v>2.0361067960648446E-2</c:v>
                </c:pt>
                <c:pt idx="3">
                  <c:v>0.22694641205752161</c:v>
                </c:pt>
                <c:pt idx="4">
                  <c:v>0.42015251377547785</c:v>
                </c:pt>
                <c:pt idx="5">
                  <c:v>5.5575887669505095E-2</c:v>
                </c:pt>
                <c:pt idx="6">
                  <c:v>2.871865863730374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0">
                  <c:v>2.838613105454714E-2</c:v>
                </c:pt>
                <c:pt idx="1">
                  <c:v>1.4291310224375185E-2</c:v>
                </c:pt>
                <c:pt idx="3">
                  <c:v>3.2232541378158633E-2</c:v>
                </c:pt>
                <c:pt idx="4">
                  <c:v>4.6673472637123369E-2</c:v>
                </c:pt>
                <c:pt idx="5">
                  <c:v>4.0642495764350648E-5</c:v>
                </c:pt>
                <c:pt idx="6">
                  <c:v>1.083198980432552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11296636957545042</c:v>
                </c:pt>
                <c:pt idx="1">
                  <c:v>7.7801952971012153E-2</c:v>
                </c:pt>
                <c:pt idx="2">
                  <c:v>1.9328135407835154E-2</c:v>
                </c:pt>
                <c:pt idx="3">
                  <c:v>0.15102551359476754</c:v>
                </c:pt>
                <c:pt idx="4">
                  <c:v>0.28632175450065273</c:v>
                </c:pt>
                <c:pt idx="5">
                  <c:v>3.6301760805789098E-2</c:v>
                </c:pt>
                <c:pt idx="6">
                  <c:v>2.517523485586778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6.2861854476714942E-3</c:v>
                </c:pt>
                <c:pt idx="3">
                  <c:v>5.345172755255952E-3</c:v>
                </c:pt>
                <c:pt idx="4">
                  <c:v>3.2759680227378914E-2</c:v>
                </c:pt>
                <c:pt idx="5">
                  <c:v>1.8087267957141041E-2</c:v>
                </c:pt>
                <c:pt idx="6">
                  <c:v>5.538756589229724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fort 3</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7.6985657857788839E-3</c:v>
                </c:pt>
                <c:pt idx="3">
                  <c:v>1.846069725028101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2">
                  <c:v>8.4683059534278713E-4</c:v>
                </c:pt>
                <c:pt idx="3">
                  <c:v>1.9865110273598625E-2</c:v>
                </c:pt>
                <c:pt idx="4">
                  <c:v>5.4013094513971904E-2</c:v>
                </c:pt>
                <c:pt idx="5">
                  <c:v>1.1288066143992279E-3</c:v>
                </c:pt>
                <c:pt idx="6">
                  <c:v>1.883069312796736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34670000000000001</c:v>
                </c:pt>
                <c:pt idx="4">
                  <c:v>0.6532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4791892300228154</c:v>
                </c:pt>
                <c:pt idx="1">
                  <c:v>0.10032653689726162</c:v>
                </c:pt>
                <c:pt idx="2">
                  <c:v>2.0361067960648446E-2</c:v>
                </c:pt>
                <c:pt idx="3">
                  <c:v>0.22694641205752161</c:v>
                </c:pt>
                <c:pt idx="4">
                  <c:v>0.42015251377547785</c:v>
                </c:pt>
                <c:pt idx="5">
                  <c:v>5.5575887669505095E-2</c:v>
                </c:pt>
                <c:pt idx="6">
                  <c:v>2.871865863730374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3">
                  <c:v>8.6126531487688163E-3</c:v>
                </c:pt>
                <c:pt idx="4">
                  <c:v>1.62322975090450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11296636957545042</c:v>
                </c:pt>
                <c:pt idx="1">
                  <c:v>7.7801952971012153E-2</c:v>
                </c:pt>
                <c:pt idx="2">
                  <c:v>1.9328135407835154E-2</c:v>
                </c:pt>
                <c:pt idx="3">
                  <c:v>0.15102551359476754</c:v>
                </c:pt>
                <c:pt idx="4">
                  <c:v>0.28632175450065273</c:v>
                </c:pt>
                <c:pt idx="5">
                  <c:v>3.6301760805789098E-2</c:v>
                </c:pt>
                <c:pt idx="6">
                  <c:v>2.517523485586778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2.838613105454714E-2</c:v>
                </c:pt>
                <c:pt idx="1">
                  <c:v>1.4291310224375185E-2</c:v>
                </c:pt>
                <c:pt idx="3">
                  <c:v>3.2232541378158633E-2</c:v>
                </c:pt>
                <c:pt idx="4">
                  <c:v>4.6673472637123369E-2</c:v>
                </c:pt>
                <c:pt idx="5">
                  <c:v>4.0642495764350648E-5</c:v>
                </c:pt>
                <c:pt idx="6">
                  <c:v>1.083198980432552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0">
                  <c:v>6.2861854476714942E-3</c:v>
                </c:pt>
                <c:pt idx="3">
                  <c:v>5.345172755255952E-3</c:v>
                </c:pt>
                <c:pt idx="4">
                  <c:v>3.2759680227378914E-2</c:v>
                </c:pt>
                <c:pt idx="5">
                  <c:v>1.8087267957141041E-2</c:v>
                </c:pt>
                <c:pt idx="6">
                  <c:v>5.538756589229724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7.6985657857788839E-3</c:v>
                </c:pt>
                <c:pt idx="2">
                  <c:v>8.4683059534278713E-4</c:v>
                </c:pt>
                <c:pt idx="3">
                  <c:v>2.9713154375110823E-2</c:v>
                </c:pt>
                <c:pt idx="4">
                  <c:v>3.7780797004926842E-2</c:v>
                </c:pt>
                <c:pt idx="5">
                  <c:v>1.1288066143992279E-3</c:v>
                </c:pt>
                <c:pt idx="6">
                  <c:v>1.883069312796736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43990000000000001</c:v>
                </c:pt>
                <c:pt idx="3">
                  <c:v>0.31979999999999997</c:v>
                </c:pt>
                <c:pt idx="4">
                  <c:v>0.2403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99903906857682756</c:v>
                </c:pt>
                <c:pt idx="1">
                  <c:v>9.6093142317238694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0">
                  <c:v>0.354059272225327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6426498988293264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2.329897522173763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 P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9.605109236904873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34649999999999997</c:v>
                </c:pt>
                <c:pt idx="4">
                  <c:v>0.65349999999999997</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3676601764592655E-2</c:v>
                </c:pt>
                <c:pt idx="1">
                  <c:v>0.15385450898353698</c:v>
                </c:pt>
                <c:pt idx="2">
                  <c:v>8.8616038673797227E-3</c:v>
                </c:pt>
                <c:pt idx="3">
                  <c:v>0.31193473799298188</c:v>
                </c:pt>
                <c:pt idx="4">
                  <c:v>0.43703919088978871</c:v>
                </c:pt>
                <c:pt idx="5">
                  <c:v>6.440443934606104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3">
                  <c:v>2.6659888762995305E-2</c:v>
                </c:pt>
                <c:pt idx="4">
                  <c:v>5.027905299814357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1.2006411803306154E-2</c:v>
                </c:pt>
                <c:pt idx="1">
                  <c:v>0.11154428663137596</c:v>
                </c:pt>
                <c:pt idx="2">
                  <c:v>8.8602254256438268E-3</c:v>
                </c:pt>
                <c:pt idx="3">
                  <c:v>0.20626247310094423</c:v>
                </c:pt>
                <c:pt idx="4">
                  <c:v>0.3107803556956118</c:v>
                </c:pt>
                <c:pt idx="5">
                  <c:v>5.238321113693056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1.1666666457811859E-2</c:v>
                </c:pt>
                <c:pt idx="3">
                  <c:v>1.052110029047453E-2</c:v>
                </c:pt>
                <c:pt idx="4">
                  <c:v>3.8426776043487584E-2</c:v>
                </c:pt>
                <c:pt idx="5">
                  <c:v>1.202079329970579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fort 3</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1.6759588505214168E-2</c:v>
                </c:pt>
                <c:pt idx="3">
                  <c:v>2.164036320951980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2.5550560133485053E-2</c:v>
                </c:pt>
                <c:pt idx="3">
                  <c:v>4.6850824172893865E-2</c:v>
                </c:pt>
                <c:pt idx="4">
                  <c:v>3.755291032504533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2409</c:v>
                </c:pt>
                <c:pt idx="3">
                  <c:v>0.42459999999999998</c:v>
                </c:pt>
                <c:pt idx="4">
                  <c:v>0.3343999999999999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3676601764592655E-2</c:v>
                </c:pt>
                <c:pt idx="1">
                  <c:v>0.15385450898353698</c:v>
                </c:pt>
                <c:pt idx="2">
                  <c:v>8.8616038673797227E-3</c:v>
                </c:pt>
                <c:pt idx="3">
                  <c:v>0.31193473799298188</c:v>
                </c:pt>
                <c:pt idx="4">
                  <c:v>0.43703919088978871</c:v>
                </c:pt>
                <c:pt idx="5">
                  <c:v>6.440443934606104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2.5550560133485053E-2</c:v>
                </c:pt>
                <c:pt idx="3">
                  <c:v>4.5031782333051856E-2</c:v>
                </c:pt>
                <c:pt idx="4">
                  <c:v>3.547049028614688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1.2006411803306154E-2</c:v>
                </c:pt>
                <c:pt idx="1">
                  <c:v>0.11154428663137596</c:v>
                </c:pt>
                <c:pt idx="2">
                  <c:v>8.8602254256438268E-3</c:v>
                </c:pt>
                <c:pt idx="3">
                  <c:v>0.20626247310094423</c:v>
                </c:pt>
                <c:pt idx="4">
                  <c:v>0.3107803556956118</c:v>
                </c:pt>
                <c:pt idx="5">
                  <c:v>5.238321113693056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1.1666666457811859E-2</c:v>
                </c:pt>
                <c:pt idx="3">
                  <c:v>1.052110029047453E-2</c:v>
                </c:pt>
                <c:pt idx="4">
                  <c:v>3.8426776043487584E-2</c:v>
                </c:pt>
                <c:pt idx="5">
                  <c:v>1.202079329970579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fort 3</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1.6759588505214168E-2</c:v>
                </c:pt>
                <c:pt idx="3">
                  <c:v>2.164036320951980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3">
                  <c:v>2.8478930602837314E-2</c:v>
                </c:pt>
                <c:pt idx="4">
                  <c:v>5.236147303704202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9.6000000000000002E-2</c:v>
                </c:pt>
                <c:pt idx="2">
                  <c:v>3.5999999999999999E-3</c:v>
                </c:pt>
                <c:pt idx="3">
                  <c:v>0.36359999999999998</c:v>
                </c:pt>
                <c:pt idx="4">
                  <c:v>0.51859999999999995</c:v>
                </c:pt>
                <c:pt idx="5">
                  <c:v>3.8999999999999998E-3</c:v>
                </c:pt>
                <c:pt idx="6">
                  <c:v>1.44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2225656363332625</c:v>
                </c:pt>
                <c:pt idx="1">
                  <c:v>0.23469339604185141</c:v>
                </c:pt>
                <c:pt idx="2">
                  <c:v>7.286008721317605E-2</c:v>
                </c:pt>
                <c:pt idx="3">
                  <c:v>0.14124119972580332</c:v>
                </c:pt>
                <c:pt idx="4">
                  <c:v>0.36641748151299419</c:v>
                </c:pt>
                <c:pt idx="5">
                  <c:v>6.23124298030558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3918839258221552E-2</c:v>
                </c:pt>
                <c:pt idx="2">
                  <c:v>8.7879633575530317E-3</c:v>
                </c:pt>
                <c:pt idx="3">
                  <c:v>6.9665087048948054E-2</c:v>
                </c:pt>
                <c:pt idx="4">
                  <c:v>0.7986623826347008</c:v>
                </c:pt>
                <c:pt idx="5">
                  <c:v>0.10677532388149447</c:v>
                </c:pt>
                <c:pt idx="6">
                  <c:v>2.089651902521537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0">
                  <c:v>1.3918839258221552E-2</c:v>
                </c:pt>
                <c:pt idx="2">
                  <c:v>5.2145605526752548E-4</c:v>
                </c:pt>
                <c:pt idx="3">
                  <c:v>5.2741072162413243E-2</c:v>
                </c:pt>
                <c:pt idx="4">
                  <c:v>7.5224768140162351E-2</c:v>
                </c:pt>
                <c:pt idx="5">
                  <c:v>5.6704741173360022E-4</c:v>
                </c:pt>
                <c:pt idx="6">
                  <c:v>2.089206213585411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2">
                  <c:v>8.2594287132999739E-3</c:v>
                </c:pt>
                <c:pt idx="3">
                  <c:v>1.1564474344637359E-2</c:v>
                </c:pt>
                <c:pt idx="4">
                  <c:v>0.64379051099416296</c:v>
                </c:pt>
                <c:pt idx="5">
                  <c:v>6.77755756957433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Dollar Shave Club</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3">
                  <c:v>5.3595405418974474E-3</c:v>
                </c:pt>
                <c:pt idx="4">
                  <c:v>4.541984487665493E-2</c:v>
                </c:pt>
                <c:pt idx="5">
                  <c:v>3.789320742533498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 P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4">
                  <c:v>2.219465359417321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4">
                  <c:v>1.2032185557607327E-2</c:v>
                </c:pt>
                <c:pt idx="5">
                  <c:v>5.394933486825107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3918839258221552E-2</c:v>
                </c:pt>
                <c:pt idx="2">
                  <c:v>8.7879633575530317E-3</c:v>
                </c:pt>
                <c:pt idx="3">
                  <c:v>6.9665087048948054E-2</c:v>
                </c:pt>
                <c:pt idx="4">
                  <c:v>0.7986623826347008</c:v>
                </c:pt>
                <c:pt idx="5">
                  <c:v>0.10677532388149447</c:v>
                </c:pt>
                <c:pt idx="6">
                  <c:v>2.089651902521537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4">
                  <c:v>7.3407589479591313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chick</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1.3918839258221552E-2</c:v>
                </c:pt>
                <c:pt idx="2">
                  <c:v>5.2145605526752548E-4</c:v>
                </c:pt>
                <c:pt idx="3">
                  <c:v>5.2741072162413243E-2</c:v>
                </c:pt>
                <c:pt idx="4">
                  <c:v>7.5224768140162351E-2</c:v>
                </c:pt>
                <c:pt idx="5">
                  <c:v>5.6704741173360022E-4</c:v>
                </c:pt>
                <c:pt idx="6">
                  <c:v>2.0892062135854116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2">
                  <c:v>8.2594287132999739E-3</c:v>
                </c:pt>
                <c:pt idx="3">
                  <c:v>1.1564474344637359E-2</c:v>
                </c:pt>
                <c:pt idx="4">
                  <c:v>0.64379051099416296</c:v>
                </c:pt>
                <c:pt idx="5">
                  <c:v>6.77755756957433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Dollar Shave Club</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3">
                  <c:v>5.3595405418974474E-3</c:v>
                </c:pt>
                <c:pt idx="4">
                  <c:v>4.541984487665493E-2</c:v>
                </c:pt>
                <c:pt idx="5">
                  <c:v>3.789320742533498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4">
                  <c:v>3.4226105075885749E-2</c:v>
                </c:pt>
                <c:pt idx="5">
                  <c:v>5.394933486825107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62009999999999998</c:v>
                </c:pt>
                <c:pt idx="4">
                  <c:v>0.37880000000000003</c:v>
                </c:pt>
                <c:pt idx="5">
                  <c:v>1.1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9.4209199914868039E-4</c:v>
                </c:pt>
                <c:pt idx="3">
                  <c:v>4.3200016259108069E-2</c:v>
                </c:pt>
                <c:pt idx="4">
                  <c:v>0.87608938307646078</c:v>
                </c:pt>
                <c:pt idx="5">
                  <c:v>7.976656762007762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3">
                  <c:v>6.2798521334598745E-5</c:v>
                </c:pt>
                <c:pt idx="4">
                  <c:v>3.8364187578954865E-5</c:v>
                </c:pt>
                <c:pt idx="5">
                  <c:v>1.1417912969927044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2">
                  <c:v>9.4209199914868039E-4</c:v>
                </c:pt>
                <c:pt idx="3">
                  <c:v>4.2884653502878685E-2</c:v>
                </c:pt>
                <c:pt idx="4">
                  <c:v>0.87585485914405847</c:v>
                </c:pt>
                <c:pt idx="5">
                  <c:v>7.96593534172900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Equa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4">
                  <c:v>3.1970156315795722E-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numCache>
            </c:numRef>
          </c:val>
          <c:extLst>
            <c:ext xmlns:c16="http://schemas.microsoft.com/office/drawing/2014/chart" uri="{C3380CC4-5D6E-409C-BE32-E72D297353CC}">
              <c16:uniqueId val="{00000009-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9.4209199914868039E-4</c:v>
                </c:pt>
                <c:pt idx="3">
                  <c:v>4.3200016259108069E-2</c:v>
                </c:pt>
                <c:pt idx="4">
                  <c:v>0.87608938307646078</c:v>
                </c:pt>
                <c:pt idx="5">
                  <c:v>7.976656762007762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5.194401099585591E-2</c:v>
                </c:pt>
                <c:pt idx="3">
                  <c:v>3.7761908753834852E-2</c:v>
                </c:pt>
                <c:pt idx="4">
                  <c:v>2.837345168030271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12225610621853797</c:v>
                </c:pt>
                <c:pt idx="1">
                  <c:v>0.1237569644955754</c:v>
                </c:pt>
                <c:pt idx="2">
                  <c:v>5.6536115499854905E-2</c:v>
                </c:pt>
                <c:pt idx="3">
                  <c:v>6.0764705054061299E-2</c:v>
                </c:pt>
                <c:pt idx="4">
                  <c:v>0.15431247015445773</c:v>
                </c:pt>
                <c:pt idx="5">
                  <c:v>2.301175915756459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1">
                  <c:v>3.5184438234619739E-2</c:v>
                </c:pt>
                <c:pt idx="2">
                  <c:v>1.6323489573409157E-2</c:v>
                </c:pt>
                <c:pt idx="3">
                  <c:v>1.8833429598541999E-2</c:v>
                </c:pt>
                <c:pt idx="4">
                  <c:v>7.4887281560795188E-2</c:v>
                </c:pt>
                <c:pt idx="5">
                  <c:v>3.928011788642274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2.3807982315800332E-2</c:v>
                </c:pt>
                <c:pt idx="3">
                  <c:v>2.2355789263468605E-2</c:v>
                </c:pt>
                <c:pt idx="4">
                  <c:v>0.1070979179059877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3">
                  <c:v>1.5253670558965692E-3</c:v>
                </c:pt>
                <c:pt idx="4">
                  <c:v>1.746224223270438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4">
                  <c:v>3.1970156315795722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2">
                  <c:v>9.4209199914868039E-4</c:v>
                </c:pt>
                <c:pt idx="3">
                  <c:v>4.2884653502878685E-2</c:v>
                </c:pt>
                <c:pt idx="4">
                  <c:v>0.87585485914405847</c:v>
                </c:pt>
                <c:pt idx="5">
                  <c:v>7.96593534172900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3">
                  <c:v>6.2798521334598745E-5</c:v>
                </c:pt>
                <c:pt idx="4">
                  <c:v>3.8364187578954865E-5</c:v>
                </c:pt>
                <c:pt idx="5">
                  <c:v>1.1417912969927044E-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numCache>
            </c:numRef>
          </c:val>
          <c:extLst>
            <c:ext xmlns:c16="http://schemas.microsoft.com/office/drawing/2014/chart" uri="{C3380CC4-5D6E-409C-BE32-E72D297353CC}">
              <c16:uniqueId val="{00000009-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9100000000000001E-2</c:v>
                </c:pt>
                <c:pt idx="1">
                  <c:v>0.2354</c:v>
                </c:pt>
                <c:pt idx="2">
                  <c:v>3.5999999999999999E-3</c:v>
                </c:pt>
                <c:pt idx="3">
                  <c:v>0.30719999999999997</c:v>
                </c:pt>
                <c:pt idx="4">
                  <c:v>0.4093</c:v>
                </c:pt>
                <c:pt idx="5">
                  <c:v>1.3899999999999999E-2</c:v>
                </c:pt>
                <c:pt idx="6">
                  <c:v>1.5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9811899753457555E-2</c:v>
                </c:pt>
                <c:pt idx="1">
                  <c:v>0.12863438504877911</c:v>
                </c:pt>
                <c:pt idx="2">
                  <c:v>1.617438812802691E-2</c:v>
                </c:pt>
                <c:pt idx="3">
                  <c:v>0.17872641621129917</c:v>
                </c:pt>
                <c:pt idx="4">
                  <c:v>0.41294679811605201</c:v>
                </c:pt>
                <c:pt idx="5">
                  <c:v>0.15908671481789266</c:v>
                </c:pt>
                <c:pt idx="6">
                  <c:v>4.461939792449262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0">
                  <c:v>1.5814220772027486E-3</c:v>
                </c:pt>
                <c:pt idx="1">
                  <c:v>1.2803496660987911E-2</c:v>
                </c:pt>
                <c:pt idx="2">
                  <c:v>1.9846904347379555E-4</c:v>
                </c:pt>
                <c:pt idx="3">
                  <c:v>1.6706583278789235E-2</c:v>
                </c:pt>
                <c:pt idx="4">
                  <c:v>2.2261888665201721E-2</c:v>
                </c:pt>
                <c:pt idx="5">
                  <c:v>7.5365905638020481E-4</c:v>
                </c:pt>
                <c:pt idx="6">
                  <c:v>7.9817296753691958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5.8230070013119313E-2</c:v>
                </c:pt>
                <c:pt idx="1">
                  <c:v>8.8048983205579232E-2</c:v>
                </c:pt>
                <c:pt idx="2">
                  <c:v>1.25366212595055E-2</c:v>
                </c:pt>
                <c:pt idx="3">
                  <c:v>0.10445418003958507</c:v>
                </c:pt>
                <c:pt idx="4">
                  <c:v>0.2317706651716599</c:v>
                </c:pt>
                <c:pt idx="5">
                  <c:v>7.959480340793075E-2</c:v>
                </c:pt>
                <c:pt idx="6">
                  <c:v>4.375575570901525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1">
                  <c:v>4.9022496079644557E-3</c:v>
                </c:pt>
                <c:pt idx="2">
                  <c:v>9.8226492980799888E-4</c:v>
                </c:pt>
                <c:pt idx="3">
                  <c:v>1.2124385522672376E-2</c:v>
                </c:pt>
                <c:pt idx="4">
                  <c:v>2.4077957772208062E-2</c:v>
                </c:pt>
                <c:pt idx="5">
                  <c:v>1.868071076249125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 P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7.7380995403900565E-4</c:v>
                </c:pt>
                <c:pt idx="3">
                  <c:v>9.2553564078127733E-4</c:v>
                </c:pt>
                <c:pt idx="4">
                  <c:v>1.0492295877427914E-2</c:v>
                </c:pt>
                <c:pt idx="5">
                  <c:v>4.0263992727144499E-3</c:v>
                </c:pt>
                <c:pt idx="6">
                  <c:v>7.0594553396718495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2.2105845620208505E-2</c:v>
                </c:pt>
                <c:pt idx="2">
                  <c:v>2.4570328952396164E-3</c:v>
                </c:pt>
                <c:pt idx="3">
                  <c:v>4.4182905626256312E-2</c:v>
                </c:pt>
                <c:pt idx="4">
                  <c:v>0.12422913002902604</c:v>
                </c:pt>
                <c:pt idx="5">
                  <c:v>5.523750324232818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7900000000000003E-2</c:v>
                </c:pt>
                <c:pt idx="3">
                  <c:v>0.12039999999999999</c:v>
                </c:pt>
                <c:pt idx="4">
                  <c:v>0.71450000000000002</c:v>
                </c:pt>
                <c:pt idx="5">
                  <c:v>0.1272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9811899753457555E-2</c:v>
                </c:pt>
                <c:pt idx="1">
                  <c:v>0.12863438504877911</c:v>
                </c:pt>
                <c:pt idx="2">
                  <c:v>1.617438812802691E-2</c:v>
                </c:pt>
                <c:pt idx="3">
                  <c:v>0.17872641621129917</c:v>
                </c:pt>
                <c:pt idx="4">
                  <c:v>0.41294679811605201</c:v>
                </c:pt>
                <c:pt idx="5">
                  <c:v>0.15908671481789266</c:v>
                </c:pt>
                <c:pt idx="6">
                  <c:v>4.461939792449262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8.6525835182459652E-4</c:v>
                </c:pt>
                <c:pt idx="3">
                  <c:v>2.7486209085764916E-3</c:v>
                </c:pt>
                <c:pt idx="4">
                  <c:v>1.6307533085507614E-2</c:v>
                </c:pt>
                <c:pt idx="5">
                  <c:v>2.90331515714219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5.8230070013119313E-2</c:v>
                </c:pt>
                <c:pt idx="1">
                  <c:v>8.8048983205579232E-2</c:v>
                </c:pt>
                <c:pt idx="2">
                  <c:v>1.25366212595055E-2</c:v>
                </c:pt>
                <c:pt idx="3">
                  <c:v>0.10445418003958507</c:v>
                </c:pt>
                <c:pt idx="4">
                  <c:v>0.2317706651716599</c:v>
                </c:pt>
                <c:pt idx="5">
                  <c:v>7.959480340793075E-2</c:v>
                </c:pt>
                <c:pt idx="6">
                  <c:v>4.375575570901525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1.5814220772027486E-3</c:v>
                </c:pt>
                <c:pt idx="1">
                  <c:v>1.2803496660987911E-2</c:v>
                </c:pt>
                <c:pt idx="2">
                  <c:v>1.9846904347379555E-4</c:v>
                </c:pt>
                <c:pt idx="3">
                  <c:v>1.6706583278789235E-2</c:v>
                </c:pt>
                <c:pt idx="4">
                  <c:v>2.2261888665201721E-2</c:v>
                </c:pt>
                <c:pt idx="5">
                  <c:v>7.5365905638020481E-4</c:v>
                </c:pt>
                <c:pt idx="6">
                  <c:v>7.9817296753691958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4.9022496079644557E-3</c:v>
                </c:pt>
                <c:pt idx="2">
                  <c:v>9.8226492980799888E-4</c:v>
                </c:pt>
                <c:pt idx="3">
                  <c:v>1.2124385522672376E-2</c:v>
                </c:pt>
                <c:pt idx="4">
                  <c:v>2.4077957772208062E-2</c:v>
                </c:pt>
                <c:pt idx="5">
                  <c:v>1.868071076249125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2.2014397222422911E-2</c:v>
                </c:pt>
                <c:pt idx="2">
                  <c:v>2.4570328952396164E-3</c:v>
                </c:pt>
                <c:pt idx="3">
                  <c:v>4.23598203584611E-2</c:v>
                </c:pt>
                <c:pt idx="4">
                  <c:v>0.11841389282094633</c:v>
                </c:pt>
                <c:pt idx="5">
                  <c:v>5.6360587357900442E-2</c:v>
                </c:pt>
                <c:pt idx="6">
                  <c:v>7.059455339671849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0.64549999999999996</c:v>
                </c:pt>
                <c:pt idx="5">
                  <c:v>0.3544999999999999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9811899753457555E-2</c:v>
                </c:pt>
                <c:pt idx="1">
                  <c:v>0.12863438504877911</c:v>
                </c:pt>
                <c:pt idx="2">
                  <c:v>1.617438812802691E-2</c:v>
                </c:pt>
                <c:pt idx="3">
                  <c:v>0.17872641621129917</c:v>
                </c:pt>
                <c:pt idx="4">
                  <c:v>0.41294679811605201</c:v>
                </c:pt>
                <c:pt idx="5">
                  <c:v>0.15908671481789266</c:v>
                </c:pt>
                <c:pt idx="6">
                  <c:v>4.461939792449262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4">
                  <c:v>1.3719219354127923E-3</c:v>
                </c:pt>
                <c:pt idx="5">
                  <c:v>7.5333244199865383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5.8230070013119313E-2</c:v>
                </c:pt>
                <c:pt idx="1">
                  <c:v>8.8048983205579232E-2</c:v>
                </c:pt>
                <c:pt idx="2">
                  <c:v>1.25366212595055E-2</c:v>
                </c:pt>
                <c:pt idx="3">
                  <c:v>0.10445418003958507</c:v>
                </c:pt>
                <c:pt idx="4">
                  <c:v>0.2317706651716599</c:v>
                </c:pt>
                <c:pt idx="5">
                  <c:v>7.959480340793075E-2</c:v>
                </c:pt>
                <c:pt idx="6">
                  <c:v>4.375575570901525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chick</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1.5814220772027486E-3</c:v>
                </c:pt>
                <c:pt idx="1">
                  <c:v>1.2803496660987911E-2</c:v>
                </c:pt>
                <c:pt idx="2">
                  <c:v>1.9846904347379555E-4</c:v>
                </c:pt>
                <c:pt idx="3">
                  <c:v>1.6706583278789235E-2</c:v>
                </c:pt>
                <c:pt idx="4">
                  <c:v>2.2261888665201721E-2</c:v>
                </c:pt>
                <c:pt idx="5">
                  <c:v>7.5365905638020481E-4</c:v>
                </c:pt>
                <c:pt idx="6">
                  <c:v>7.9817296753691958E-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4.9022496079644557E-3</c:v>
                </c:pt>
                <c:pt idx="2">
                  <c:v>9.8226492980799888E-4</c:v>
                </c:pt>
                <c:pt idx="3">
                  <c:v>1.2124385522672376E-2</c:v>
                </c:pt>
                <c:pt idx="4">
                  <c:v>2.4077957772208062E-2</c:v>
                </c:pt>
                <c:pt idx="5">
                  <c:v>1.868071076249125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2.2879655574247509E-2</c:v>
                </c:pt>
                <c:pt idx="2">
                  <c:v>2.4570328952396164E-3</c:v>
                </c:pt>
                <c:pt idx="3">
                  <c:v>4.5108441267037586E-2</c:v>
                </c:pt>
                <c:pt idx="4">
                  <c:v>0.13334950397104117</c:v>
                </c:pt>
                <c:pt idx="5">
                  <c:v>5.8510570073043978E-2</c:v>
                </c:pt>
                <c:pt idx="6">
                  <c:v>7.059455339671849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8.48E-2</c:v>
                </c:pt>
                <c:pt idx="4">
                  <c:v>0.83520000000000005</c:v>
                </c:pt>
                <c:pt idx="5">
                  <c:v>6.9800000000000001E-2</c:v>
                </c:pt>
                <c:pt idx="6">
                  <c:v>1.02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3.78E-2</c:v>
                </c:pt>
                <c:pt idx="3">
                  <c:v>0.1206</c:v>
                </c:pt>
                <c:pt idx="4">
                  <c:v>0.71440000000000003</c:v>
                </c:pt>
                <c:pt idx="5">
                  <c:v>0.1272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2119008831171317</c:v>
                </c:pt>
                <c:pt idx="3">
                  <c:v>0.20471033163355459</c:v>
                </c:pt>
                <c:pt idx="4">
                  <c:v>0.49174817577483482</c:v>
                </c:pt>
                <c:pt idx="5">
                  <c:v>0.15852791178904352</c:v>
                </c:pt>
                <c:pt idx="6">
                  <c:v>2.380973105026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2.6953272214264986E-3</c:v>
                </c:pt>
                <c:pt idx="3">
                  <c:v>8.6042069358432741E-3</c:v>
                </c:pt>
                <c:pt idx="4">
                  <c:v>5.0974421040808411E-2</c:v>
                </c:pt>
                <c:pt idx="5">
                  <c:v>9.0764040112626832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1">
                  <c:v>6.1040257339856421E-2</c:v>
                </c:pt>
                <c:pt idx="3">
                  <c:v>9.8776310149445837E-2</c:v>
                </c:pt>
                <c:pt idx="4">
                  <c:v>0.25099184914078859</c:v>
                </c:pt>
                <c:pt idx="5">
                  <c:v>8.1661993950401912E-2</c:v>
                </c:pt>
                <c:pt idx="6">
                  <c:v>2.378528920273281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1">
                  <c:v>2.940485756452188E-2</c:v>
                </c:pt>
                <c:pt idx="3">
                  <c:v>5.073121433677278E-2</c:v>
                </c:pt>
                <c:pt idx="4">
                  <c:v>0.13175279289105693</c:v>
                </c:pt>
                <c:pt idx="5">
                  <c:v>5.20449655529926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1.5035283626482408E-2</c:v>
                </c:pt>
                <c:pt idx="3">
                  <c:v>2.6059757167377792E-2</c:v>
                </c:pt>
                <c:pt idx="4">
                  <c:v>3.6670233058673708E-2</c:v>
                </c:pt>
                <c:pt idx="5">
                  <c:v>1.539092130012173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1.3014362559425962E-2</c:v>
                </c:pt>
                <c:pt idx="3">
                  <c:v>2.0538843044114907E-2</c:v>
                </c:pt>
                <c:pt idx="4">
                  <c:v>2.1355645704968954E-2</c:v>
                </c:pt>
                <c:pt idx="5">
                  <c:v>3.5359639328544302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23769999999999999</c:v>
                </c:pt>
                <c:pt idx="3">
                  <c:v>0.37509999999999999</c:v>
                </c:pt>
                <c:pt idx="4">
                  <c:v>0.3870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2119008831171317</c:v>
                </c:pt>
                <c:pt idx="3">
                  <c:v>0.20471033163355459</c:v>
                </c:pt>
                <c:pt idx="4">
                  <c:v>0.49174817577483482</c:v>
                </c:pt>
                <c:pt idx="5">
                  <c:v>0.15852791178904352</c:v>
                </c:pt>
                <c:pt idx="6">
                  <c:v>2.380973105026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1.3014362559425962E-2</c:v>
                </c:pt>
                <c:pt idx="3">
                  <c:v>2.0538843044114907E-2</c:v>
                </c:pt>
                <c:pt idx="4">
                  <c:v>2.1190500772668572E-2</c:v>
                </c:pt>
                <c:pt idx="5">
                  <c:v>1.1735450723627961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1">
                  <c:v>6.1040257339856421E-2</c:v>
                </c:pt>
                <c:pt idx="3">
                  <c:v>9.8776310149445837E-2</c:v>
                </c:pt>
                <c:pt idx="4">
                  <c:v>0.25099184914078859</c:v>
                </c:pt>
                <c:pt idx="5">
                  <c:v>8.1661993950401912E-2</c:v>
                </c:pt>
                <c:pt idx="6">
                  <c:v>2.378528920273281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Equa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1">
                  <c:v>2.6953272214264986E-3</c:v>
                </c:pt>
                <c:pt idx="3">
                  <c:v>8.6042069358432741E-3</c:v>
                </c:pt>
                <c:pt idx="4">
                  <c:v>5.0974421040808411E-2</c:v>
                </c:pt>
                <c:pt idx="5">
                  <c:v>9.0764040112626832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2.940485756452188E-2</c:v>
                </c:pt>
                <c:pt idx="3">
                  <c:v>5.073121433677278E-2</c:v>
                </c:pt>
                <c:pt idx="4">
                  <c:v>0.13175279289105693</c:v>
                </c:pt>
                <c:pt idx="5">
                  <c:v>5.20449655529926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1.5035283626482408E-2</c:v>
                </c:pt>
                <c:pt idx="3">
                  <c:v>2.6059757167377792E-2</c:v>
                </c:pt>
                <c:pt idx="4">
                  <c:v>3.683537799097409E-2</c:v>
                </c:pt>
                <c:pt idx="5">
                  <c:v>1.573278224268354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0.32569999999999999</c:v>
                </c:pt>
                <c:pt idx="5">
                  <c:v>0.6743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2119008831171317</c:v>
                </c:pt>
                <c:pt idx="3">
                  <c:v>0.20471033163355459</c:v>
                </c:pt>
                <c:pt idx="4">
                  <c:v>0.49174817577483482</c:v>
                </c:pt>
                <c:pt idx="5">
                  <c:v>0.15852791178904352</c:v>
                </c:pt>
                <c:pt idx="6">
                  <c:v>2.380973105026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4">
                  <c:v>1.6514493230038277E-4</c:v>
                </c:pt>
                <c:pt idx="5">
                  <c:v>3.4186094256181504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1">
                  <c:v>6.1040257339856421E-2</c:v>
                </c:pt>
                <c:pt idx="3">
                  <c:v>9.8776310149445837E-2</c:v>
                </c:pt>
                <c:pt idx="4">
                  <c:v>0.25099184914078859</c:v>
                </c:pt>
                <c:pt idx="5">
                  <c:v>8.1661993950401912E-2</c:v>
                </c:pt>
                <c:pt idx="6">
                  <c:v>2.378528920273281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Equa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1">
                  <c:v>2.6953272214264986E-3</c:v>
                </c:pt>
                <c:pt idx="3">
                  <c:v>8.6042069358432741E-3</c:v>
                </c:pt>
                <c:pt idx="4">
                  <c:v>5.0974421040808411E-2</c:v>
                </c:pt>
                <c:pt idx="5">
                  <c:v>9.0764040112626832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2.940485756452188E-2</c:v>
                </c:pt>
                <c:pt idx="3">
                  <c:v>5.073121433677278E-2</c:v>
                </c:pt>
                <c:pt idx="4">
                  <c:v>0.13175279289105693</c:v>
                </c:pt>
                <c:pt idx="5">
                  <c:v>5.20449655529926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2.804964618590837E-2</c:v>
                </c:pt>
                <c:pt idx="3">
                  <c:v>4.6598600211492702E-2</c:v>
                </c:pt>
                <c:pt idx="4">
                  <c:v>5.7860733831342284E-2</c:v>
                </c:pt>
                <c:pt idx="5">
                  <c:v>1.540265675084536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5.9999999999999995E-4</c:v>
                </c:pt>
                <c:pt idx="3">
                  <c:v>1.1000000000000001E-3</c:v>
                </c:pt>
                <c:pt idx="4">
                  <c:v>5.8900000000000001E-2</c:v>
                </c:pt>
                <c:pt idx="6">
                  <c:v>0.9389999999999999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6.5228443918668262E-3</c:v>
                </c:pt>
                <c:pt idx="1">
                  <c:v>3.1670533734711605E-2</c:v>
                </c:pt>
                <c:pt idx="2">
                  <c:v>2.6639611183844846E-2</c:v>
                </c:pt>
                <c:pt idx="3">
                  <c:v>7.1778221668329367E-2</c:v>
                </c:pt>
                <c:pt idx="4">
                  <c:v>0.30537797464052846</c:v>
                </c:pt>
                <c:pt idx="5">
                  <c:v>0.39924401614678445</c:v>
                </c:pt>
                <c:pt idx="6">
                  <c:v>0.1587667982339344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7914341314730287</c:v>
                </c:pt>
                <c:pt idx="2">
                  <c:v>8.4364117124532151E-2</c:v>
                </c:pt>
                <c:pt idx="3">
                  <c:v>1.5333126939495883E-2</c:v>
                </c:pt>
                <c:pt idx="4">
                  <c:v>0.13305012583123732</c:v>
                </c:pt>
                <c:pt idx="5">
                  <c:v>9.152090246457141E-2</c:v>
                </c:pt>
                <c:pt idx="6">
                  <c:v>0.4965880831960683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2">
                  <c:v>4.62593584127674E-6</c:v>
                </c:pt>
                <c:pt idx="3">
                  <c:v>8.789278098425805E-6</c:v>
                </c:pt>
                <c:pt idx="4">
                  <c:v>4.7092026864197211E-4</c:v>
                </c:pt>
                <c:pt idx="5">
                  <c:v>3.469451880957555E-6</c:v>
                </c:pt>
                <c:pt idx="6">
                  <c:v>7.508009518788180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ev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17914341314730287</c:v>
                </c:pt>
                <c:pt idx="4">
                  <c:v>3.4289980720255894E-2</c:v>
                </c:pt>
                <c:pt idx="6">
                  <c:v>0.1337757038679415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bg P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2">
                  <c:v>8.43571782207702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Rem Brand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3">
                  <c:v>1.529345953965693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4">
                  <c:v>9.7614763396681278E-2</c:v>
                </c:pt>
                <c:pt idx="5">
                  <c:v>9.1515235693165844E-2</c:v>
                </c:pt>
                <c:pt idx="6">
                  <c:v>0.3552503620083916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0.99239999999999995</c:v>
                </c:pt>
                <c:pt idx="5">
                  <c:v>7.6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7914341314730287</c:v>
                </c:pt>
                <c:pt idx="2">
                  <c:v>8.4364117124532151E-2</c:v>
                </c:pt>
                <c:pt idx="3">
                  <c:v>1.5333126939495883E-2</c:v>
                </c:pt>
                <c:pt idx="4">
                  <c:v>0.13305012583123732</c:v>
                </c:pt>
                <c:pt idx="5">
                  <c:v>9.152090246457141E-2</c:v>
                </c:pt>
                <c:pt idx="6">
                  <c:v>0.4965880831960683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4">
                  <c:v>3.9579507057963788E-3</c:v>
                </c:pt>
                <c:pt idx="5">
                  <c:v>3.0299879760362646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ev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17914341314730287</c:v>
                </c:pt>
                <c:pt idx="4">
                  <c:v>3.4289980720255894E-2</c:v>
                </c:pt>
                <c:pt idx="6">
                  <c:v>0.1337757038679415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bg P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2">
                  <c:v>8.43571782207702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chick</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2">
                  <c:v>4.62593584127674E-6</c:v>
                </c:pt>
                <c:pt idx="3">
                  <c:v>8.789278098425805E-6</c:v>
                </c:pt>
                <c:pt idx="4">
                  <c:v>4.7092026864197211E-4</c:v>
                </c:pt>
                <c:pt idx="5">
                  <c:v>3.469451880957555E-6</c:v>
                </c:pt>
                <c:pt idx="6">
                  <c:v>7.508009518788180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3">
                  <c:v>1.5293459539656934E-2</c:v>
                </c:pt>
                <c:pt idx="4">
                  <c:v>9.3656812690884911E-2</c:v>
                </c:pt>
                <c:pt idx="5">
                  <c:v>9.1484935813405485E-2</c:v>
                </c:pt>
                <c:pt idx="6">
                  <c:v>0.3552503620083916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4">
                  <c:v>1</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hers</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numCache>
            </c:numRef>
          </c:val>
          <c:extLst xmlns:c15="http://schemas.microsoft.com/office/drawing/2012/chart">
            <c:ext xmlns:c16="http://schemas.microsoft.com/office/drawing/2014/chart" uri="{C3380CC4-5D6E-409C-BE32-E72D297353CC}">
              <c16:uniqueId val="{00000003-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5.701465062472879E-4</c:v>
                </c:pt>
                <c:pt idx="6">
                  <c:v>0.9990688904326302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0">
                  <c:v>5.502247332484834E-3</c:v>
                </c:pt>
                <c:pt idx="4">
                  <c:v>5.4198234152919481E-2</c:v>
                </c:pt>
                <c:pt idx="5">
                  <c:v>4.5307816506128381E-3</c:v>
                </c:pt>
                <c:pt idx="6">
                  <c:v>6.6108552297446403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6.6866745176895781E-4</c:v>
                </c:pt>
                <c:pt idx="1">
                  <c:v>2.9745400297778533E-2</c:v>
                </c:pt>
                <c:pt idx="2">
                  <c:v>2.0426087336665819E-2</c:v>
                </c:pt>
                <c:pt idx="3">
                  <c:v>7.1728207278977912E-2</c:v>
                </c:pt>
                <c:pt idx="4">
                  <c:v>0.16641770072965664</c:v>
                </c:pt>
                <c:pt idx="5">
                  <c:v>0.21173322488151963</c:v>
                </c:pt>
                <c:pt idx="6">
                  <c:v>0.1549164774813796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bg</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1">
                  <c:v>1.9248999626156733E-3</c:v>
                </c:pt>
                <c:pt idx="4">
                  <c:v>7.5805518946732702E-4</c:v>
                </c:pt>
                <c:pt idx="5">
                  <c:v>1.3361393953024159E-2</c:v>
                </c:pt>
                <c:pt idx="6">
                  <c:v>2.639427158190568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2">
                  <c:v>6.0797251037467822E-3</c:v>
                </c:pt>
                <c:pt idx="4">
                  <c:v>6.4870928887000537E-2</c:v>
                </c:pt>
                <c:pt idx="5">
                  <c:v>0.1250039454914695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4">
                  <c:v>1.9100635677231394E-2</c:v>
                </c:pt>
                <c:pt idx="5">
                  <c:v>4.449702904679425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5">
                  <c:v>2.5491191917540861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chick</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3">
                  <c:v>2.4323656409867231E-5</c:v>
                </c:pt>
                <c:pt idx="4">
                  <c:v>1.1578060451096802E-4</c:v>
                </c:pt>
                <c:pt idx="5">
                  <c:v>1.459419384592034E-5</c:v>
                </c:pt>
                <c:pt idx="6">
                  <c:v>1.3621247589525649E-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illet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6">
                  <c:v>0.9990027300871954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numCache>
            </c:numRef>
          </c:val>
          <c:extLst>
            <c:ext xmlns:c16="http://schemas.microsoft.com/office/drawing/2014/chart" uri="{C3380CC4-5D6E-409C-BE32-E72D297353CC}">
              <c16:uniqueId val="{00000009-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14449999999999999</c:v>
                </c:pt>
                <c:pt idx="4">
                  <c:v>0.68789999999999996</c:v>
                </c:pt>
                <c:pt idx="5">
                  <c:v>8.6699999999999999E-2</c:v>
                </c:pt>
                <c:pt idx="6">
                  <c:v>8.0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5.701465062472879E-4</c:v>
                </c:pt>
                <c:pt idx="6">
                  <c:v>0.9990688904326302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3">
                  <c:v>2.4323656409867231E-5</c:v>
                </c:pt>
                <c:pt idx="4">
                  <c:v>1.1578060451096802E-4</c:v>
                </c:pt>
                <c:pt idx="5">
                  <c:v>1.459419384592034E-5</c:v>
                </c:pt>
                <c:pt idx="6">
                  <c:v>1.3621247589525649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Cremo</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5">
                  <c:v>2.5491191917540861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illet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6">
                  <c:v>0.9990027300871954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numCache>
            </c:numRef>
          </c:val>
          <c:extLst>
            <c:ext xmlns:c16="http://schemas.microsoft.com/office/drawing/2014/chart" uri="{C3380CC4-5D6E-409C-BE32-E72D297353CC}">
              <c16:uniqueId val="{00000009-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656</c:v>
                </c:pt>
                <c:pt idx="3">
                  <c:v>8.1699999999999995E-2</c:v>
                </c:pt>
                <c:pt idx="4">
                  <c:v>0.66620000000000001</c:v>
                </c:pt>
                <c:pt idx="5">
                  <c:v>8.6499999999999994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1823329995551486</c:v>
                </c:pt>
                <c:pt idx="1">
                  <c:v>0.13361675834205811</c:v>
                </c:pt>
                <c:pt idx="2">
                  <c:v>4.8880124497624404E-2</c:v>
                </c:pt>
                <c:pt idx="3">
                  <c:v>0.15359613325769619</c:v>
                </c:pt>
                <c:pt idx="4">
                  <c:v>0.36650771385969311</c:v>
                </c:pt>
                <c:pt idx="5">
                  <c:v>0.13474681001570141</c:v>
                </c:pt>
                <c:pt idx="6">
                  <c:v>3.916532693055486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3.6581553064163313E-3</c:v>
                </c:pt>
                <c:pt idx="3">
                  <c:v>1.8040269611361421E-3</c:v>
                </c:pt>
                <c:pt idx="4">
                  <c:v>1.4716863769810929E-2</c:v>
                </c:pt>
                <c:pt idx="5">
                  <c:v>1.911470662872626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11317884655202878</c:v>
                </c:pt>
                <c:pt idx="1">
                  <c:v>9.5923327394452571E-2</c:v>
                </c:pt>
                <c:pt idx="2">
                  <c:v>3.8962803103360227E-2</c:v>
                </c:pt>
                <c:pt idx="3">
                  <c:v>0.10608854516237798</c:v>
                </c:pt>
                <c:pt idx="4">
                  <c:v>0.21528780089191801</c:v>
                </c:pt>
                <c:pt idx="5">
                  <c:v>6.4664389193548028E-2</c:v>
                </c:pt>
                <c:pt idx="6">
                  <c:v>3.690173412027427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1.7395310459154172E-3</c:v>
                </c:pt>
                <c:pt idx="3">
                  <c:v>1.0433017974987673E-3</c:v>
                </c:pt>
                <c:pt idx="4">
                  <c:v>3.7099930854563906E-3</c:v>
                </c:pt>
                <c:pt idx="5">
                  <c:v>8.2944892651299782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0">
                  <c:v>2.0498098079509055E-3</c:v>
                </c:pt>
                <c:pt idx="1">
                  <c:v>3.2387226484943774E-3</c:v>
                </c:pt>
                <c:pt idx="2">
                  <c:v>3.7223892141767527E-3</c:v>
                </c:pt>
                <c:pt idx="3">
                  <c:v>1.0372938076416066E-2</c:v>
                </c:pt>
                <c:pt idx="4">
                  <c:v>2.3051421121279329E-2</c:v>
                </c:pt>
                <c:pt idx="5">
                  <c:v>1.992970465286051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0">
                  <c:v>4.2152157194637406E-4</c:v>
                </c:pt>
                <c:pt idx="1">
                  <c:v>3.0423428962438524E-2</c:v>
                </c:pt>
                <c:pt idx="2">
                  <c:v>5.6592499878767959E-3</c:v>
                </c:pt>
                <c:pt idx="3">
                  <c:v>3.4136212030366146E-2</c:v>
                </c:pt>
                <c:pt idx="4">
                  <c:v>0.10867050879540743</c:v>
                </c:pt>
                <c:pt idx="5">
                  <c:v>4.6842308279659406E-2</c:v>
                </c:pt>
                <c:pt idx="6">
                  <c:v>1.892481473696625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18E-2</c:v>
                </c:pt>
                <c:pt idx="1">
                  <c:v>0.54979999999999996</c:v>
                </c:pt>
                <c:pt idx="2">
                  <c:v>7.6E-3</c:v>
                </c:pt>
                <c:pt idx="3">
                  <c:v>8.77E-2</c:v>
                </c:pt>
                <c:pt idx="4">
                  <c:v>0.32800000000000001</c:v>
                </c:pt>
                <c:pt idx="5">
                  <c:v>1.8E-3</c:v>
                </c:pt>
                <c:pt idx="6">
                  <c:v>3.3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1823329995551486</c:v>
                </c:pt>
                <c:pt idx="1">
                  <c:v>0.13361675834205811</c:v>
                </c:pt>
                <c:pt idx="2">
                  <c:v>4.8880124497624404E-2</c:v>
                </c:pt>
                <c:pt idx="3">
                  <c:v>0.15359613325769619</c:v>
                </c:pt>
                <c:pt idx="4">
                  <c:v>0.36650771385969311</c:v>
                </c:pt>
                <c:pt idx="5">
                  <c:v>0.13474681001570141</c:v>
                </c:pt>
                <c:pt idx="6">
                  <c:v>3.916532693055486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0">
                  <c:v>4.2152157194637406E-4</c:v>
                </c:pt>
                <c:pt idx="1">
                  <c:v>1.0615809464573456E-2</c:v>
                </c:pt>
                <c:pt idx="2">
                  <c:v>1.460913900552612E-4</c:v>
                </c:pt>
                <c:pt idx="3">
                  <c:v>1.6935439728601367E-3</c:v>
                </c:pt>
                <c:pt idx="4">
                  <c:v>6.3336063771301035E-3</c:v>
                </c:pt>
                <c:pt idx="5">
                  <c:v>3.4565135710047094E-5</c:v>
                </c:pt>
                <c:pt idx="6">
                  <c:v>6.3270037891304537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11317884655202878</c:v>
                </c:pt>
                <c:pt idx="1">
                  <c:v>9.5923327394452571E-2</c:v>
                </c:pt>
                <c:pt idx="2">
                  <c:v>3.8962803103360227E-2</c:v>
                </c:pt>
                <c:pt idx="3">
                  <c:v>0.10608854516237798</c:v>
                </c:pt>
                <c:pt idx="4">
                  <c:v>0.21528780089191801</c:v>
                </c:pt>
                <c:pt idx="5">
                  <c:v>6.4664389193548028E-2</c:v>
                </c:pt>
                <c:pt idx="6">
                  <c:v>3.690173412027427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1.7395310459154172E-3</c:v>
                </c:pt>
                <c:pt idx="3">
                  <c:v>1.0433017974987673E-3</c:v>
                </c:pt>
                <c:pt idx="4">
                  <c:v>3.7099930854563906E-3</c:v>
                </c:pt>
                <c:pt idx="5">
                  <c:v>8.2944892651299782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0">
                  <c:v>2.0498098079509055E-3</c:v>
                </c:pt>
                <c:pt idx="1">
                  <c:v>3.2387226484943774E-3</c:v>
                </c:pt>
                <c:pt idx="2">
                  <c:v>3.7223892141767527E-3</c:v>
                </c:pt>
                <c:pt idx="3">
                  <c:v>1.0372938076416066E-2</c:v>
                </c:pt>
                <c:pt idx="4">
                  <c:v>2.3051421121279329E-2</c:v>
                </c:pt>
                <c:pt idx="5">
                  <c:v>1.992970465286051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2.34657748042814E-2</c:v>
                </c:pt>
                <c:pt idx="2">
                  <c:v>5.5131585978215342E-3</c:v>
                </c:pt>
                <c:pt idx="3">
                  <c:v>3.4246695018642151E-2</c:v>
                </c:pt>
                <c:pt idx="4">
                  <c:v>0.11705376618808826</c:v>
                </c:pt>
                <c:pt idx="5">
                  <c:v>4.8719213806821982E-2</c:v>
                </c:pt>
                <c:pt idx="6">
                  <c:v>1.8292114358053207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0.98380000000000001</c:v>
                </c:pt>
                <c:pt idx="5">
                  <c:v>1.6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0.63660000000000005</c:v>
                </c:pt>
                <c:pt idx="5">
                  <c:v>0.363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1823329995551486</c:v>
                </c:pt>
                <c:pt idx="1">
                  <c:v>0.13361675834205811</c:v>
                </c:pt>
                <c:pt idx="2">
                  <c:v>4.8880124497624404E-2</c:v>
                </c:pt>
                <c:pt idx="3">
                  <c:v>0.15359613325769619</c:v>
                </c:pt>
                <c:pt idx="4">
                  <c:v>0.36650771385969311</c:v>
                </c:pt>
                <c:pt idx="5">
                  <c:v>0.13474681001570141</c:v>
                </c:pt>
                <c:pt idx="6">
                  <c:v>3.916532693055486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4">
                  <c:v>8.6570917109500892E-4</c:v>
                </c:pt>
                <c:pt idx="5">
                  <c:v>4.9426834028065832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11317884655202878</c:v>
                </c:pt>
                <c:pt idx="1">
                  <c:v>9.5923327394452571E-2</c:v>
                </c:pt>
                <c:pt idx="2">
                  <c:v>3.8962803103360227E-2</c:v>
                </c:pt>
                <c:pt idx="3">
                  <c:v>0.10608854516237798</c:v>
                </c:pt>
                <c:pt idx="4">
                  <c:v>0.21528780089191801</c:v>
                </c:pt>
                <c:pt idx="5">
                  <c:v>6.4664389193548028E-2</c:v>
                </c:pt>
                <c:pt idx="6">
                  <c:v>3.690173412027427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1.7395310459154172E-3</c:v>
                </c:pt>
                <c:pt idx="3">
                  <c:v>1.0433017974987673E-3</c:v>
                </c:pt>
                <c:pt idx="4">
                  <c:v>3.7099930854563906E-3</c:v>
                </c:pt>
                <c:pt idx="5">
                  <c:v>8.2944892651299782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0">
                  <c:v>2.0498098079509055E-3</c:v>
                </c:pt>
                <c:pt idx="1">
                  <c:v>3.2387226484943774E-3</c:v>
                </c:pt>
                <c:pt idx="2">
                  <c:v>3.7223892141767527E-3</c:v>
                </c:pt>
                <c:pt idx="3">
                  <c:v>1.0372938076416066E-2</c:v>
                </c:pt>
                <c:pt idx="4">
                  <c:v>2.3051421121279329E-2</c:v>
                </c:pt>
                <c:pt idx="5">
                  <c:v>1.992970465286051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0">
                  <c:v>4.2152157194637406E-4</c:v>
                </c:pt>
                <c:pt idx="1">
                  <c:v>3.4081584268854853E-2</c:v>
                </c:pt>
                <c:pt idx="2">
                  <c:v>5.6592499878767959E-3</c:v>
                </c:pt>
                <c:pt idx="3">
                  <c:v>3.5940238991502289E-2</c:v>
                </c:pt>
                <c:pt idx="4">
                  <c:v>0.12252166339412335</c:v>
                </c:pt>
                <c:pt idx="5">
                  <c:v>4.8259510602251372E-2</c:v>
                </c:pt>
                <c:pt idx="6">
                  <c:v>1.8924814736966252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6550000000000001</c:v>
                </c:pt>
                <c:pt idx="3">
                  <c:v>8.1799999999999998E-2</c:v>
                </c:pt>
                <c:pt idx="4">
                  <c:v>0.6663</c:v>
                </c:pt>
                <c:pt idx="5">
                  <c:v>8.6400000000000005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7150898244983039E-2</c:v>
                </c:pt>
                <c:pt idx="1">
                  <c:v>0.14931957036657539</c:v>
                </c:pt>
                <c:pt idx="2">
                  <c:v>3.8860694610020008E-2</c:v>
                </c:pt>
                <c:pt idx="3">
                  <c:v>0.18101855860638505</c:v>
                </c:pt>
                <c:pt idx="4">
                  <c:v>0.41703205319027975</c:v>
                </c:pt>
                <c:pt idx="5">
                  <c:v>0.13789983777234846</c:v>
                </c:pt>
                <c:pt idx="6">
                  <c:v>1.548442889306733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1.1327358217593347E-2</c:v>
                </c:pt>
                <c:pt idx="3">
                  <c:v>5.5953243073574221E-3</c:v>
                </c:pt>
                <c:pt idx="4">
                  <c:v>4.5596027108319795E-2</c:v>
                </c:pt>
                <c:pt idx="5">
                  <c:v>5.910682375013932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3.934387772921817E-3</c:v>
                </c:pt>
                <c:pt idx="1">
                  <c:v>9.7774847186592566E-3</c:v>
                </c:pt>
                <c:pt idx="2">
                  <c:v>6.5647083738816702E-3</c:v>
                </c:pt>
                <c:pt idx="3">
                  <c:v>1.8249453011815714E-2</c:v>
                </c:pt>
                <c:pt idx="4">
                  <c:v>3.3739763438120803E-2</c:v>
                </c:pt>
                <c:pt idx="5">
                  <c:v>1.468310852017722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illet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5.3215289917192363E-2</c:v>
                </c:pt>
                <c:pt idx="1">
                  <c:v>9.1157508287896941E-2</c:v>
                </c:pt>
                <c:pt idx="2">
                  <c:v>2.5840692775806938E-2</c:v>
                </c:pt>
                <c:pt idx="3">
                  <c:v>0.11579727947865413</c:v>
                </c:pt>
                <c:pt idx="4">
                  <c:v>0.23155377353218912</c:v>
                </c:pt>
                <c:pt idx="5">
                  <c:v>7.0768405189971323E-2</c:v>
                </c:pt>
                <c:pt idx="6">
                  <c:v>1.546835783965139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1.9122008049313261E-2</c:v>
                </c:pt>
                <c:pt idx="3">
                  <c:v>3.3601927742868375E-2</c:v>
                </c:pt>
                <c:pt idx="4">
                  <c:v>8.638123098636219E-2</c:v>
                </c:pt>
                <c:pt idx="5">
                  <c:v>3.384489273742682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1.7924971855831827E-2</c:v>
                </c:pt>
                <c:pt idx="2">
                  <c:v>6.4549454406131858E-3</c:v>
                </c:pt>
                <c:pt idx="3">
                  <c:v>7.7745442354278617E-3</c:v>
                </c:pt>
                <c:pt idx="4">
                  <c:v>1.9759100403034923E-2</c:v>
                </c:pt>
                <c:pt idx="5">
                  <c:v>1.269249042082561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99929999999999997</c:v>
                </c:pt>
                <c:pt idx="4">
                  <c:v>5.0000000000000001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7150898244983039E-2</c:v>
                </c:pt>
                <c:pt idx="1">
                  <c:v>0.14931957036657539</c:v>
                </c:pt>
                <c:pt idx="2">
                  <c:v>3.8860694610020008E-2</c:v>
                </c:pt>
                <c:pt idx="3">
                  <c:v>0.18101855860638505</c:v>
                </c:pt>
                <c:pt idx="4">
                  <c:v>0.41703205319027975</c:v>
                </c:pt>
                <c:pt idx="5">
                  <c:v>0.13789983777234846</c:v>
                </c:pt>
                <c:pt idx="6">
                  <c:v>1.548442889306733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1.2273099315975446E-2</c:v>
                </c:pt>
                <c:pt idx="3">
                  <c:v>2.3118452709702281E-6</c:v>
                </c:pt>
                <c:pt idx="4">
                  <c:v>6.3985911048143738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3.934387772921817E-3</c:v>
                </c:pt>
                <c:pt idx="1">
                  <c:v>9.7774847186592566E-3</c:v>
                </c:pt>
                <c:pt idx="2">
                  <c:v>6.5647083738816702E-3</c:v>
                </c:pt>
                <c:pt idx="3">
                  <c:v>1.8249453011815714E-2</c:v>
                </c:pt>
                <c:pt idx="4">
                  <c:v>3.3739763438120803E-2</c:v>
                </c:pt>
                <c:pt idx="5">
                  <c:v>1.468310852017722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illet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5.3215289917192363E-2</c:v>
                </c:pt>
                <c:pt idx="1">
                  <c:v>9.1157508287896941E-2</c:v>
                </c:pt>
                <c:pt idx="2">
                  <c:v>2.5840692775806938E-2</c:v>
                </c:pt>
                <c:pt idx="3">
                  <c:v>0.11579727947865413</c:v>
                </c:pt>
                <c:pt idx="4">
                  <c:v>0.23155377353218912</c:v>
                </c:pt>
                <c:pt idx="5">
                  <c:v>7.0768405189971323E-2</c:v>
                </c:pt>
                <c:pt idx="6">
                  <c:v>1.546835783965139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1.9122008049313261E-2</c:v>
                </c:pt>
                <c:pt idx="3">
                  <c:v>3.3601927742868375E-2</c:v>
                </c:pt>
                <c:pt idx="4">
                  <c:v>8.638123098636219E-2</c:v>
                </c:pt>
                <c:pt idx="5">
                  <c:v>3.384489273742682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1.6979230757449726E-2</c:v>
                </c:pt>
                <c:pt idx="2">
                  <c:v>6.4549454406131858E-3</c:v>
                </c:pt>
                <c:pt idx="3">
                  <c:v>1.3367556697514313E-2</c:v>
                </c:pt>
                <c:pt idx="4">
                  <c:v>6.5348728920249899E-2</c:v>
                </c:pt>
                <c:pt idx="5">
                  <c:v>1.860317279583954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0.32629999999999998</c:v>
                </c:pt>
                <c:pt idx="5">
                  <c:v>0.67369999999999997</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5.4983727471242094E-3</c:v>
                </c:pt>
                <c:pt idx="3">
                  <c:v>0.13522590969935899</c:v>
                </c:pt>
                <c:pt idx="4">
                  <c:v>0.3640189233588918</c:v>
                </c:pt>
                <c:pt idx="5">
                  <c:v>0.42937027074578871</c:v>
                </c:pt>
                <c:pt idx="6">
                  <c:v>6.588496065223425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7150898244983039E-2</c:v>
                </c:pt>
                <c:pt idx="1">
                  <c:v>0.14931957036657539</c:v>
                </c:pt>
                <c:pt idx="2">
                  <c:v>3.8860694610020008E-2</c:v>
                </c:pt>
                <c:pt idx="3">
                  <c:v>0.18101855860638505</c:v>
                </c:pt>
                <c:pt idx="4">
                  <c:v>0.41703205319027975</c:v>
                </c:pt>
                <c:pt idx="5">
                  <c:v>0.13789983777234846</c:v>
                </c:pt>
                <c:pt idx="6">
                  <c:v>1.548442889306733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4">
                  <c:v>1.0739391332952237E-4</c:v>
                </c:pt>
                <c:pt idx="5">
                  <c:v>2.2177307957455694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3.934387772921817E-3</c:v>
                </c:pt>
                <c:pt idx="1">
                  <c:v>9.7774847186592566E-3</c:v>
                </c:pt>
                <c:pt idx="2">
                  <c:v>6.5647083738816702E-3</c:v>
                </c:pt>
                <c:pt idx="3">
                  <c:v>1.8249453011815714E-2</c:v>
                </c:pt>
                <c:pt idx="4">
                  <c:v>3.3739763438120803E-2</c:v>
                </c:pt>
                <c:pt idx="5">
                  <c:v>1.4683108520177228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illet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5.3215289917192363E-2</c:v>
                </c:pt>
                <c:pt idx="1">
                  <c:v>9.1157508287896941E-2</c:v>
                </c:pt>
                <c:pt idx="2">
                  <c:v>2.5840692775806938E-2</c:v>
                </c:pt>
                <c:pt idx="3">
                  <c:v>0.11579727947865413</c:v>
                </c:pt>
                <c:pt idx="4">
                  <c:v>0.23155377353218912</c:v>
                </c:pt>
                <c:pt idx="5">
                  <c:v>7.0768405189971323E-2</c:v>
                </c:pt>
                <c:pt idx="6">
                  <c:v>1.546835783965139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1.9122008049313261E-2</c:v>
                </c:pt>
                <c:pt idx="3">
                  <c:v>3.3601927742868375E-2</c:v>
                </c:pt>
                <c:pt idx="4">
                  <c:v>8.638123098636219E-2</c:v>
                </c:pt>
                <c:pt idx="5">
                  <c:v>3.384489273742682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2.9252330073425176E-2</c:v>
                </c:pt>
                <c:pt idx="2">
                  <c:v>6.4549454406131858E-3</c:v>
                </c:pt>
                <c:pt idx="3">
                  <c:v>1.3369868542785284E-2</c:v>
                </c:pt>
                <c:pt idx="4">
                  <c:v>6.5247733598025187E-2</c:v>
                </c:pt>
                <c:pt idx="5">
                  <c:v>1.838139971626499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552</c:v>
                </c:pt>
                <c:pt idx="1">
                  <c:v>0.1729</c:v>
                </c:pt>
                <c:pt idx="3">
                  <c:v>0.29670000000000002</c:v>
                </c:pt>
                <c:pt idx="4">
                  <c:v>0.3629</c:v>
                </c:pt>
                <c:pt idx="5">
                  <c:v>6.1000000000000004E-3</c:v>
                </c:pt>
                <c:pt idx="6">
                  <c:v>6.1000000000000004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3931180563679934E-2</c:v>
                </c:pt>
                <c:pt idx="1">
                  <c:v>9.8903016925942902E-2</c:v>
                </c:pt>
                <c:pt idx="2">
                  <c:v>3.0435090571824988E-2</c:v>
                </c:pt>
                <c:pt idx="3">
                  <c:v>0.13467959124342999</c:v>
                </c:pt>
                <c:pt idx="4">
                  <c:v>0.27671290281078825</c:v>
                </c:pt>
                <c:pt idx="5">
                  <c:v>1.334691405308177E-2</c:v>
                </c:pt>
                <c:pt idx="6">
                  <c:v>4.653709730879583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0">
                  <c:v>2.7853086356441143E-2</c:v>
                </c:pt>
                <c:pt idx="1">
                  <c:v>3.1041417360151344E-2</c:v>
                </c:pt>
                <c:pt idx="3">
                  <c:v>5.3251833909489274E-2</c:v>
                </c:pt>
                <c:pt idx="4">
                  <c:v>6.5131537711299453E-2</c:v>
                </c:pt>
                <c:pt idx="5">
                  <c:v>1.10333907110183E-3</c:v>
                </c:pt>
                <c:pt idx="6">
                  <c:v>1.102789404074590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7.8826657434274657E-4</c:v>
                </c:pt>
                <c:pt idx="1">
                  <c:v>2.8797903135259602E-2</c:v>
                </c:pt>
                <c:pt idx="2">
                  <c:v>2.907291707393427E-3</c:v>
                </c:pt>
                <c:pt idx="3">
                  <c:v>5.5374169632497914E-3</c:v>
                </c:pt>
                <c:pt idx="4">
                  <c:v>6.1713439596305736E-2</c:v>
                </c:pt>
                <c:pt idx="5">
                  <c:v>1.271493124156413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illet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5.2897814776494767E-3</c:v>
                </c:pt>
                <c:pt idx="1">
                  <c:v>3.8291827556513301E-2</c:v>
                </c:pt>
                <c:pt idx="2">
                  <c:v>2.7485027636628741E-2</c:v>
                </c:pt>
                <c:pt idx="3">
                  <c:v>4.7453157271040332E-2</c:v>
                </c:pt>
                <c:pt idx="4">
                  <c:v>0.12875213517317546</c:v>
                </c:pt>
                <c:pt idx="5">
                  <c:v>8.6047981433439464E-3</c:v>
                </c:pt>
                <c:pt idx="6">
                  <c:v>3.057806064398267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quat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3">
                  <c:v>7.6677606215369565E-3</c:v>
                </c:pt>
                <c:pt idx="4">
                  <c:v>7.555410359541734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3">
                  <c:v>2.0769422478113621E-2</c:v>
                </c:pt>
                <c:pt idx="4">
                  <c:v>1.3073786185618897E-2</c:v>
                </c:pt>
                <c:pt idx="5">
                  <c:v>2.077487509110521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50370000000000004</c:v>
                </c:pt>
                <c:pt idx="4">
                  <c:v>0.4963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3931180563679934E-2</c:v>
                </c:pt>
                <c:pt idx="1">
                  <c:v>9.8903016925942902E-2</c:v>
                </c:pt>
                <c:pt idx="2">
                  <c:v>3.0435090571824988E-2</c:v>
                </c:pt>
                <c:pt idx="3">
                  <c:v>0.13467959124342999</c:v>
                </c:pt>
                <c:pt idx="4">
                  <c:v>0.27671290281078825</c:v>
                </c:pt>
                <c:pt idx="5">
                  <c:v>1.334691405308177E-2</c:v>
                </c:pt>
                <c:pt idx="6">
                  <c:v>4.653709730879583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3">
                  <c:v>7.6677606215369565E-3</c:v>
                </c:pt>
                <c:pt idx="4">
                  <c:v>7.555410359541734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chick</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2.7853086356441143E-2</c:v>
                </c:pt>
                <c:pt idx="1">
                  <c:v>3.1041417360151344E-2</c:v>
                </c:pt>
                <c:pt idx="3">
                  <c:v>5.3251833909489274E-2</c:v>
                </c:pt>
                <c:pt idx="4">
                  <c:v>6.5131537711299453E-2</c:v>
                </c:pt>
                <c:pt idx="5">
                  <c:v>1.10333907110183E-3</c:v>
                </c:pt>
                <c:pt idx="6">
                  <c:v>1.102789404074590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7.8826657434274657E-4</c:v>
                </c:pt>
                <c:pt idx="1">
                  <c:v>2.8797903135259602E-2</c:v>
                </c:pt>
                <c:pt idx="2">
                  <c:v>2.907291707393427E-3</c:v>
                </c:pt>
                <c:pt idx="3">
                  <c:v>5.5374169632497914E-3</c:v>
                </c:pt>
                <c:pt idx="4">
                  <c:v>6.1713439596305736E-2</c:v>
                </c:pt>
                <c:pt idx="5">
                  <c:v>1.271493124156413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illett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0">
                  <c:v>5.2897814776494767E-3</c:v>
                </c:pt>
                <c:pt idx="1">
                  <c:v>3.8291827556513301E-2</c:v>
                </c:pt>
                <c:pt idx="2">
                  <c:v>2.7485027636628741E-2</c:v>
                </c:pt>
                <c:pt idx="3">
                  <c:v>4.7453157271040332E-2</c:v>
                </c:pt>
                <c:pt idx="4">
                  <c:v>0.12875213517317546</c:v>
                </c:pt>
                <c:pt idx="5">
                  <c:v>8.6047981433439464E-3</c:v>
                </c:pt>
                <c:pt idx="6">
                  <c:v>3.057806064398267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3">
                  <c:v>2.0769422478113621E-2</c:v>
                </c:pt>
                <c:pt idx="4">
                  <c:v>1.3073786185618897E-2</c:v>
                </c:pt>
                <c:pt idx="5">
                  <c:v>2.077487509110521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7111903724828619</c:v>
                </c:pt>
                <c:pt idx="1">
                  <c:v>0.2018390072501027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0">
                  <c:v>8.985315297635306E-3</c:v>
                </c:pt>
                <c:pt idx="1">
                  <c:v>1.8526162561037802E-2</c:v>
                </c:pt>
                <c:pt idx="3">
                  <c:v>1.9283316029462073E-2</c:v>
                </c:pt>
                <c:pt idx="4">
                  <c:v>2.7775967952186856E-2</c:v>
                </c:pt>
                <c:pt idx="5">
                  <c:v>1.163935804876375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9.4886866862487831E-2</c:v>
                </c:pt>
                <c:pt idx="1">
                  <c:v>8.9999516517917988E-2</c:v>
                </c:pt>
                <c:pt idx="2">
                  <c:v>4.0537001454274857E-2</c:v>
                </c:pt>
                <c:pt idx="3">
                  <c:v>0.10111124889054686</c:v>
                </c:pt>
                <c:pt idx="4">
                  <c:v>0.21539986379509599</c:v>
                </c:pt>
                <c:pt idx="5">
                  <c:v>5.5368084186756955E-2</c:v>
                </c:pt>
                <c:pt idx="6">
                  <c:v>3.373844853631190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1.9709952013866215E-3</c:v>
                </c:pt>
                <c:pt idx="1">
                  <c:v>1.3637477767609591E-2</c:v>
                </c:pt>
                <c:pt idx="2">
                  <c:v>3.9309543424522926E-3</c:v>
                </c:pt>
                <c:pt idx="3">
                  <c:v>1.5233011998134526E-2</c:v>
                </c:pt>
                <c:pt idx="4">
                  <c:v>3.7826185734887705E-2</c:v>
                </c:pt>
                <c:pt idx="5">
                  <c:v>1.663702110652587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0">
                  <c:v>1.4179004491987836E-3</c:v>
                </c:pt>
                <c:pt idx="3">
                  <c:v>8.5040050926192545E-4</c:v>
                </c:pt>
                <c:pt idx="4">
                  <c:v>3.4819886667730618E-3</c:v>
                </c:pt>
                <c:pt idx="5">
                  <c:v>7.6513103926672589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1.7136954056618782E-2</c:v>
                </c:pt>
                <c:pt idx="2">
                  <c:v>4.4993907263746321E-3</c:v>
                </c:pt>
                <c:pt idx="3">
                  <c:v>3.1618246808959367E-2</c:v>
                </c:pt>
                <c:pt idx="4">
                  <c:v>0.10066561480687679</c:v>
                </c:pt>
                <c:pt idx="5">
                  <c:v>3.9950571367123544E-2</c:v>
                </c:pt>
                <c:pt idx="6">
                  <c:v>7.4240399028114299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4">
                  <c:v>5.1400207604808137E-2</c:v>
                </c:pt>
                <c:pt idx="5">
                  <c:v>8.4342860565433616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2">
                  <c:v>5.4972915099402771E-3</c:v>
                </c:pt>
                <c:pt idx="3">
                  <c:v>0.13521802302813501</c:v>
                </c:pt>
                <c:pt idx="4">
                  <c:v>0.20421134069158547</c:v>
                </c:pt>
                <c:pt idx="5">
                  <c:v>0.2376639287318229</c:v>
                </c:pt>
                <c:pt idx="6">
                  <c:v>6.5868451341619089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Universal Beauty Prods In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4">
                  <c:v>2.987918092158261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4">
                  <c:v>7.8527367312480847E-2</c:v>
                </c:pt>
                <c:pt idx="5">
                  <c:v>0.12370616341902389</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5">
                  <c:v>6.715674998928758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0">
                  <c:v>0.3909619859057491</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2.575224388555013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illet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7.7581826953982094E-2</c:v>
                </c:pt>
                <c:pt idx="1">
                  <c:v>0.2018390072501027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numCache>
            </c:numRef>
          </c:val>
          <c:extLst>
            <c:ext xmlns:c16="http://schemas.microsoft.com/office/drawing/2014/chart" uri="{C3380CC4-5D6E-409C-BE32-E72D297353CC}">
              <c16:uniqueId val="{00000009-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23930000000000001</c:v>
                </c:pt>
                <c:pt idx="3">
                  <c:v>0.39989999999999998</c:v>
                </c:pt>
                <c:pt idx="4">
                  <c:v>0.3605999999999999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213056206477294</c:v>
                </c:pt>
                <c:pt idx="2">
                  <c:v>4.0799911518768156E-3</c:v>
                </c:pt>
                <c:pt idx="3">
                  <c:v>0.18923772329823763</c:v>
                </c:pt>
                <c:pt idx="4">
                  <c:v>0.27471882174606954</c:v>
                </c:pt>
                <c:pt idx="5">
                  <c:v>1.255543039425714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4.6356024703632842E-2</c:v>
                </c:pt>
                <c:pt idx="3">
                  <c:v>7.7464278107905793E-2</c:v>
                </c:pt>
                <c:pt idx="4">
                  <c:v>6.9852223105455774E-2</c:v>
                </c:pt>
                <c:pt idx="5">
                  <c:v>1.2036426950766284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1">
                  <c:v>3.8403792208549607E-2</c:v>
                </c:pt>
                <c:pt idx="3">
                  <c:v>1.2211211522843948E-2</c:v>
                </c:pt>
                <c:pt idx="4">
                  <c:v>6.0075061830227913E-2</c:v>
                </c:pt>
                <c:pt idx="5">
                  <c:v>3.022775908656959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illet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1">
                  <c:v>3.6545803735546938E-2</c:v>
                </c:pt>
                <c:pt idx="2">
                  <c:v>4.0237491927615759E-3</c:v>
                </c:pt>
                <c:pt idx="3">
                  <c:v>5.5353780105665933E-2</c:v>
                </c:pt>
                <c:pt idx="4">
                  <c:v>0.12072820949789728</c:v>
                </c:pt>
                <c:pt idx="5">
                  <c:v>9.519707230376799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omfort 3</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3">
                  <c:v>1.98070807695457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3">
                  <c:v>2.4401372792276242E-2</c:v>
                </c:pt>
                <c:pt idx="4">
                  <c:v>2.406332731248857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50349999999999995</c:v>
                </c:pt>
                <c:pt idx="4">
                  <c:v>0.496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213056206477294</c:v>
                </c:pt>
                <c:pt idx="2">
                  <c:v>4.0799911518768156E-3</c:v>
                </c:pt>
                <c:pt idx="3">
                  <c:v>0.18923772329823763</c:v>
                </c:pt>
                <c:pt idx="4">
                  <c:v>0.27471882174606954</c:v>
                </c:pt>
                <c:pt idx="5">
                  <c:v>1.255543039425714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quat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3">
                  <c:v>2.4401372792276242E-2</c:v>
                </c:pt>
                <c:pt idx="4">
                  <c:v>2.406332731248857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1">
                  <c:v>3.8403792208549607E-2</c:v>
                </c:pt>
                <c:pt idx="3">
                  <c:v>1.2211211522843948E-2</c:v>
                </c:pt>
                <c:pt idx="4">
                  <c:v>6.0075061830227913E-2</c:v>
                </c:pt>
                <c:pt idx="5">
                  <c:v>3.022775908656959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illet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1">
                  <c:v>3.6545803735546938E-2</c:v>
                </c:pt>
                <c:pt idx="2">
                  <c:v>4.0237491927615759E-3</c:v>
                </c:pt>
                <c:pt idx="3">
                  <c:v>5.5353780105665933E-2</c:v>
                </c:pt>
                <c:pt idx="4">
                  <c:v>0.12072820949789728</c:v>
                </c:pt>
                <c:pt idx="5">
                  <c:v>9.519707230376799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chick</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4.6356024703632842E-2</c:v>
                </c:pt>
                <c:pt idx="3">
                  <c:v>7.7464278107905793E-2</c:v>
                </c:pt>
                <c:pt idx="4">
                  <c:v>6.9852223105455774E-2</c:v>
                </c:pt>
                <c:pt idx="5">
                  <c:v>1.2036426950766284E-5</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3">
                  <c:v>1.98070807695457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5699999999999999E-2</c:v>
                </c:pt>
                <c:pt idx="1">
                  <c:v>9.3600000000000003E-2</c:v>
                </c:pt>
                <c:pt idx="3">
                  <c:v>0.42830000000000001</c:v>
                </c:pt>
                <c:pt idx="4">
                  <c:v>0.41899999999999998</c:v>
                </c:pt>
                <c:pt idx="5">
                  <c:v>4.34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2551672181083783E-2</c:v>
                </c:pt>
                <c:pt idx="1">
                  <c:v>7.5031349828207833E-2</c:v>
                </c:pt>
                <c:pt idx="3">
                  <c:v>0.34341604687227373</c:v>
                </c:pt>
                <c:pt idx="4">
                  <c:v>0.33596579485063782</c:v>
                </c:pt>
                <c:pt idx="5">
                  <c:v>3.479741243654615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0">
                  <c:v>1.2551672181083783E-2</c:v>
                </c:pt>
                <c:pt idx="1">
                  <c:v>7.5031349828207833E-2</c:v>
                </c:pt>
                <c:pt idx="3">
                  <c:v>0.34341604687227373</c:v>
                </c:pt>
                <c:pt idx="4">
                  <c:v>0.33596579485063782</c:v>
                </c:pt>
                <c:pt idx="5">
                  <c:v>3.479741243654615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hers</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numCache>
            </c:numRef>
          </c:val>
          <c:extLst xmlns:c15="http://schemas.microsoft.com/office/drawing/2012/chart">
            <c:ext xmlns:c16="http://schemas.microsoft.com/office/drawing/2014/chart" uri="{C3380CC4-5D6E-409C-BE32-E72D297353CC}">
              <c16:uniqueId val="{00000003-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36220000000000002</c:v>
                </c:pt>
                <c:pt idx="3">
                  <c:v>0.52439999999999998</c:v>
                </c:pt>
                <c:pt idx="4">
                  <c:v>0.1126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9.01E-2</c:v>
                </c:pt>
                <c:pt idx="1">
                  <c:v>5.3499999999999999E-2</c:v>
                </c:pt>
                <c:pt idx="3">
                  <c:v>0.1051</c:v>
                </c:pt>
                <c:pt idx="5">
                  <c:v>0.75139999999999996</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2.10391772689432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0">
                  <c:v>2.5226831257725715E-4</c:v>
                </c:pt>
                <c:pt idx="1">
                  <c:v>1.4967919879583925E-4</c:v>
                </c:pt>
                <c:pt idx="3">
                  <c:v>2.9431303134013338E-4</c:v>
                </c:pt>
                <c:pt idx="5">
                  <c:v>2.10391772689432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hers</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numCache>
            </c:numRef>
          </c:val>
          <c:extLst xmlns:c15="http://schemas.microsoft.com/office/drawing/2012/chart">
            <c:ext xmlns:c16="http://schemas.microsoft.com/office/drawing/2014/chart" uri="{C3380CC4-5D6E-409C-BE32-E72D297353CC}">
              <c16:uniqueId val="{00000003-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0.99390000000000001</c:v>
                </c:pt>
                <c:pt idx="5">
                  <c:v>6.1000000000000004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7313884785307801</c:v>
                </c:pt>
                <c:pt idx="2">
                  <c:v>8.0355242643536565E-2</c:v>
                </c:pt>
                <c:pt idx="3">
                  <c:v>2.3207513031132602E-2</c:v>
                </c:pt>
                <c:pt idx="4">
                  <c:v>2.8652200647899799E-2</c:v>
                </c:pt>
                <c:pt idx="5">
                  <c:v>1.5795417283936924E-3</c:v>
                </c:pt>
                <c:pt idx="6">
                  <c:v>0.5436256115221623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4">
                  <c:v>1.3513799239795716E-2</c:v>
                </c:pt>
                <c:pt idx="5">
                  <c:v>8.3188504457863981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ev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17313884785307801</c:v>
                </c:pt>
                <c:pt idx="4">
                  <c:v>9.008448485865234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illet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2">
                  <c:v>8.0307929181626159E-2</c:v>
                </c:pt>
                <c:pt idx="4">
                  <c:v>2.5353429827376919E-3</c:v>
                </c:pt>
                <c:pt idx="5">
                  <c:v>1.4684504130655866E-3</c:v>
                </c:pt>
                <c:pt idx="6">
                  <c:v>0.5269782053050695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chick</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3">
                  <c:v>7.2789941400630985E-6</c:v>
                </c:pt>
                <c:pt idx="4">
                  <c:v>3.0155832865975695E-5</c:v>
                </c:pt>
                <c:pt idx="6">
                  <c:v>1.125141853731039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3">
                  <c:v>2.2918606287525813E-2</c:v>
                </c:pt>
                <c:pt idx="4">
                  <c:v>3.5486829526650476E-3</c:v>
                </c:pt>
                <c:pt idx="6">
                  <c:v>5.395987679782489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5.9999999999999995E-4</c:v>
                </c:pt>
                <c:pt idx="4">
                  <c:v>2.7000000000000001E-3</c:v>
                </c:pt>
                <c:pt idx="6">
                  <c:v>0.9967000000000000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7313884785307801</c:v>
                </c:pt>
                <c:pt idx="2">
                  <c:v>8.0355242643536565E-2</c:v>
                </c:pt>
                <c:pt idx="3">
                  <c:v>2.3207513031132602E-2</c:v>
                </c:pt>
                <c:pt idx="4">
                  <c:v>2.8652200647899799E-2</c:v>
                </c:pt>
                <c:pt idx="5">
                  <c:v>1.5795417283936924E-3</c:v>
                </c:pt>
                <c:pt idx="6">
                  <c:v>0.5436256115221623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3">
                  <c:v>7.2789941400630985E-6</c:v>
                </c:pt>
                <c:pt idx="4">
                  <c:v>3.0155832865975695E-5</c:v>
                </c:pt>
                <c:pt idx="6">
                  <c:v>1.125141853731039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ev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17313884785307801</c:v>
                </c:pt>
                <c:pt idx="4">
                  <c:v>9.008448485865234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illet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2">
                  <c:v>8.0307929181626159E-2</c:v>
                </c:pt>
                <c:pt idx="4">
                  <c:v>2.5353429827376919E-3</c:v>
                </c:pt>
                <c:pt idx="5">
                  <c:v>1.4684504130655866E-3</c:v>
                </c:pt>
                <c:pt idx="6">
                  <c:v>0.5269782053050695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Rem Brand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3">
                  <c:v>2.291860628752581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4">
                  <c:v>1.7062482192460763E-2</c:v>
                </c:pt>
                <c:pt idx="5">
                  <c:v>8.3188504457863981E-5</c:v>
                </c:pt>
                <c:pt idx="6">
                  <c:v>5.395987679782489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3267101964268471</c:v>
                </c:pt>
                <c:pt idx="1">
                  <c:v>0.16200402769303471</c:v>
                </c:pt>
                <c:pt idx="2">
                  <c:v>3.7776673515019753E-2</c:v>
                </c:pt>
                <c:pt idx="3">
                  <c:v>0.24085082295007773</c:v>
                </c:pt>
                <c:pt idx="4">
                  <c:v>0.42055301597751588</c:v>
                </c:pt>
                <c:pt idx="5">
                  <c:v>6.144440221667251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99930379628939725</c:v>
                </c:pt>
                <c:pt idx="4">
                  <c:v>6.9620371060278663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4">
                  <c:v>6.9620371060278663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2">
                  <c:v>0.9986681320318903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Dollar Shave Club</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2">
                  <c:v>6.356642575068922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numCache>
            </c:numRef>
          </c:val>
          <c:extLst>
            <c:ext xmlns:c16="http://schemas.microsoft.com/office/drawing/2014/chart" uri="{C3380CC4-5D6E-409C-BE32-E72D297353CC}">
              <c16:uniqueId val="{00000009-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8.8295679915546637E-4</c:v>
                </c:pt>
                <c:pt idx="4">
                  <c:v>9.6251993929914563E-4</c:v>
                </c:pt>
                <c:pt idx="5">
                  <c:v>1.1682197650364633E-3</c:v>
                </c:pt>
                <c:pt idx="6">
                  <c:v>0.9962809083393814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Cremo</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5">
                  <c:v>4.6476517230271253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chick</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3">
                  <c:v>4.0751852268713831E-5</c:v>
                </c:pt>
                <c:pt idx="6">
                  <c:v>1.3583950756237945E-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3">
                  <c:v>8.0824506999615771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illett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4">
                  <c:v>7.7816632189305936E-4</c:v>
                </c:pt>
                <c:pt idx="5">
                  <c:v>7.034545927337507E-4</c:v>
                </c:pt>
                <c:pt idx="6">
                  <c:v>0.996267324388625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75</c:v>
                </c:pt>
                <c:pt idx="6">
                  <c:v>0.2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8.8295679915546637E-4</c:v>
                </c:pt>
                <c:pt idx="4">
                  <c:v>9.6251993929914563E-4</c:v>
                </c:pt>
                <c:pt idx="5">
                  <c:v>1.1682197650364633E-3</c:v>
                </c:pt>
                <c:pt idx="6">
                  <c:v>0.9962809083393814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3">
                  <c:v>4.0751852268713831E-5</c:v>
                </c:pt>
                <c:pt idx="6">
                  <c:v>1.3583950756237945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Harry's</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3">
                  <c:v>8.0824506999615771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illett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4">
                  <c:v>7.7816632189305936E-4</c:v>
                </c:pt>
                <c:pt idx="5">
                  <c:v>7.034545927337507E-4</c:v>
                </c:pt>
                <c:pt idx="6">
                  <c:v>0.996267324388625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remo</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5">
                  <c:v>4.6476517230271253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1.6115276983436608E-2</c:v>
                </c:pt>
                <c:pt idx="3">
                  <c:v>2.3332624423451718E-2</c:v>
                </c:pt>
                <c:pt idx="4">
                  <c:v>5.016383397753359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13263796577913559</c:v>
                </c:pt>
                <c:pt idx="1">
                  <c:v>0.11918078166209056</c:v>
                </c:pt>
                <c:pt idx="2">
                  <c:v>3.2014073887509896E-2</c:v>
                </c:pt>
                <c:pt idx="3">
                  <c:v>0.1576150365612369</c:v>
                </c:pt>
                <c:pt idx="4">
                  <c:v>0.28420605321103715</c:v>
                </c:pt>
                <c:pt idx="5">
                  <c:v>5.81627849972361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bg</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1">
                  <c:v>1.2843598794705646E-3</c:v>
                </c:pt>
                <c:pt idx="2">
                  <c:v>1.8333704536684463E-3</c:v>
                </c:pt>
                <c:pt idx="3">
                  <c:v>4.6270327990372822E-3</c:v>
                </c:pt>
                <c:pt idx="4">
                  <c:v>1.371930470021148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2.5417639380296023E-2</c:v>
                </c:pt>
                <c:pt idx="3">
                  <c:v>4.9580472515097965E-2</c:v>
                </c:pt>
                <c:pt idx="4">
                  <c:v>9.426468551607651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2">
                  <c:v>3.8749567970268301E-3</c:v>
                </c:pt>
                <c:pt idx="3">
                  <c:v>5.5507373034553598E-3</c:v>
                </c:pt>
                <c:pt idx="4">
                  <c:v>2.299015200276730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38129999999999997</c:v>
                </c:pt>
                <c:pt idx="3">
                  <c:v>0.6018</c:v>
                </c:pt>
                <c:pt idx="4">
                  <c:v>1.6899999999999998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8.4745449230528187E-3</c:v>
                </c:pt>
                <c:pt idx="1">
                  <c:v>0.17622417051869113</c:v>
                </c:pt>
                <c:pt idx="2">
                  <c:v>1.9961535085222713E-2</c:v>
                </c:pt>
                <c:pt idx="3">
                  <c:v>0.28144180473221769</c:v>
                </c:pt>
                <c:pt idx="4">
                  <c:v>0.5138966648904319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1.7712733908330572E-2</c:v>
                </c:pt>
                <c:pt idx="3">
                  <c:v>2.7956807255473906E-2</c:v>
                </c:pt>
                <c:pt idx="4">
                  <c:v>7.8604664658206826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8.474050671888415E-3</c:v>
                </c:pt>
                <c:pt idx="1">
                  <c:v>0.1148011955072028</c:v>
                </c:pt>
                <c:pt idx="2">
                  <c:v>6.4519494974992634E-3</c:v>
                </c:pt>
                <c:pt idx="3">
                  <c:v>0.15646647501895675</c:v>
                </c:pt>
                <c:pt idx="4">
                  <c:v>0.3309044530453511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1">
                  <c:v>4.0020432447189377E-2</c:v>
                </c:pt>
                <c:pt idx="3">
                  <c:v>6.9041575768024555E-2</c:v>
                </c:pt>
                <c:pt idx="4">
                  <c:v>0.1343528767163255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3.668378966008563E-3</c:v>
                </c:pt>
                <c:pt idx="3">
                  <c:v>1.1710448917563156E-2</c:v>
                </c:pt>
                <c:pt idx="4">
                  <c:v>2.384170847914458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2">
                  <c:v>1.35095491692166E-2</c:v>
                </c:pt>
                <c:pt idx="3">
                  <c:v>1.6266497772199295E-2</c:v>
                </c:pt>
                <c:pt idx="4">
                  <c:v>2.400338063634337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3">
                  <c:v>0.99950000000000006</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2764221051723224E-2</c:v>
                </c:pt>
                <c:pt idx="1">
                  <c:v>0.83308190082972733</c:v>
                </c:pt>
                <c:pt idx="2">
                  <c:v>3.9463928152270629E-3</c:v>
                </c:pt>
                <c:pt idx="3">
                  <c:v>8.5159784840973494E-3</c:v>
                </c:pt>
                <c:pt idx="4">
                  <c:v>4.7464640372674796E-2</c:v>
                </c:pt>
                <c:pt idx="5">
                  <c:v>2.1853886415108964E-2</c:v>
                </c:pt>
                <c:pt idx="6">
                  <c:v>2.112692713742787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3">
                  <c:v>7.189895884122025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1.2735872492578858E-2</c:v>
                </c:pt>
                <c:pt idx="1">
                  <c:v>0.81578803170189063</c:v>
                </c:pt>
                <c:pt idx="3">
                  <c:v>1.2288535795137265E-3</c:v>
                </c:pt>
                <c:pt idx="4">
                  <c:v>1.131208542460911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bg</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1">
                  <c:v>6.761279933285202E-3</c:v>
                </c:pt>
                <c:pt idx="2">
                  <c:v>1.4235493442033317E-3</c:v>
                </c:pt>
                <c:pt idx="4">
                  <c:v>1.418259990400714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1.0340330098467561E-2</c:v>
                </c:pt>
                <c:pt idx="2">
                  <c:v>2.504479310068576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4">
                  <c:v>4.4899600933113328E-2</c:v>
                </c:pt>
                <c:pt idx="5">
                  <c:v>2.1853529829459348E-2</c:v>
                </c:pt>
                <c:pt idx="6">
                  <c:v>2.112692713742787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97460000000000002</c:v>
                </c:pt>
                <c:pt idx="4">
                  <c:v>1.55E-2</c:v>
                </c:pt>
                <c:pt idx="5">
                  <c:v>9.7999999999999997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5513193560912883</c:v>
                </c:pt>
                <c:pt idx="1">
                  <c:v>0.26155783820324269</c:v>
                </c:pt>
                <c:pt idx="2">
                  <c:v>0.26371445519560888</c:v>
                </c:pt>
                <c:pt idx="3">
                  <c:v>4.5805767696285873E-2</c:v>
                </c:pt>
                <c:pt idx="4">
                  <c:v>0.14935846597364114</c:v>
                </c:pt>
                <c:pt idx="5">
                  <c:v>2.0288100764899925E-2</c:v>
                </c:pt>
                <c:pt idx="6">
                  <c:v>4.143436557192535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5.9160613445339509E-2</c:v>
                </c:pt>
                <c:pt idx="4">
                  <c:v>9.4242560806388515E-4</c:v>
                </c:pt>
                <c:pt idx="5">
                  <c:v>5.9718038771848264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24199726641848096</c:v>
                </c:pt>
                <c:pt idx="1">
                  <c:v>0.16430081740584351</c:v>
                </c:pt>
                <c:pt idx="2">
                  <c:v>0.21767944763649197</c:v>
                </c:pt>
                <c:pt idx="3">
                  <c:v>2.8640965601588783E-2</c:v>
                </c:pt>
                <c:pt idx="4">
                  <c:v>9.6001992682312701E-2</c:v>
                </c:pt>
                <c:pt idx="5">
                  <c:v>1.9415786113957684E-2</c:v>
                </c:pt>
                <c:pt idx="6">
                  <c:v>3.8517759633925875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1.0821387918680397E-2</c:v>
                </c:pt>
                <c:pt idx="1">
                  <c:v>2.2629762280588573E-3</c:v>
                </c:pt>
                <c:pt idx="2">
                  <c:v>2.1101990441429203E-3</c:v>
                </c:pt>
                <c:pt idx="3">
                  <c:v>2.5846469786373273E-3</c:v>
                </c:pt>
                <c:pt idx="4">
                  <c:v>2.600550978773410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0">
                  <c:v>8.0040585032695091E-4</c:v>
                </c:pt>
                <c:pt idx="2">
                  <c:v>2.4432144835141136E-2</c:v>
                </c:pt>
                <c:pt idx="3">
                  <c:v>1.457718669864305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0">
                  <c:v>1.4545146559238472E-3</c:v>
                </c:pt>
                <c:pt idx="1">
                  <c:v>3.5801168723724783E-2</c:v>
                </c:pt>
                <c:pt idx="2">
                  <c:v>1.8811216787045542E-2</c:v>
                </c:pt>
                <c:pt idx="4">
                  <c:v>4.937872480511883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30080632615261782</c:v>
                </c:pt>
                <c:pt idx="1">
                  <c:v>0.30076512552965956</c:v>
                </c:pt>
                <c:pt idx="2">
                  <c:v>0.22849047259547939</c:v>
                </c:pt>
                <c:pt idx="3">
                  <c:v>2.2757313897630187E-2</c:v>
                </c:pt>
                <c:pt idx="4">
                  <c:v>0.12570237062361819</c:v>
                </c:pt>
                <c:pt idx="5">
                  <c:v>2.1478391200994811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7.508943569336351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30080625010864781</c:v>
                </c:pt>
                <c:pt idx="1">
                  <c:v>0.16709710341978401</c:v>
                </c:pt>
                <c:pt idx="2">
                  <c:v>0.14883476379898822</c:v>
                </c:pt>
                <c:pt idx="3">
                  <c:v>1.4680136324937587E-2</c:v>
                </c:pt>
                <c:pt idx="4">
                  <c:v>4.9018505801995217E-2</c:v>
                </c:pt>
                <c:pt idx="5">
                  <c:v>2.142789800489975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bg</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1">
                  <c:v>5.8578586416512014E-2</c:v>
                </c:pt>
                <c:pt idx="4">
                  <c:v>2.666005773592797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2">
                  <c:v>4.0161466899132067E-2</c:v>
                </c:pt>
                <c:pt idx="3">
                  <c:v>8.077177572692597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2">
                  <c:v>3.9492219127756502E-2</c:v>
                </c:pt>
                <c:pt idx="4">
                  <c:v>5.002380708569499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23130000000000001</c:v>
                </c:pt>
                <c:pt idx="1">
                  <c:v>0.11650000000000001</c:v>
                </c:pt>
                <c:pt idx="3">
                  <c:v>0.26269999999999999</c:v>
                </c:pt>
                <c:pt idx="4">
                  <c:v>0.38040000000000002</c:v>
                </c:pt>
                <c:pt idx="6">
                  <c:v>8.8000000000000005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4791892300228157</c:v>
                </c:pt>
                <c:pt idx="1">
                  <c:v>0.10032653689726162</c:v>
                </c:pt>
                <c:pt idx="2">
                  <c:v>2.0361067960648446E-2</c:v>
                </c:pt>
                <c:pt idx="3">
                  <c:v>0.22694641205752164</c:v>
                </c:pt>
                <c:pt idx="4">
                  <c:v>0.42015251377547785</c:v>
                </c:pt>
                <c:pt idx="5">
                  <c:v>5.5575887669505095E-2</c:v>
                </c:pt>
                <c:pt idx="6">
                  <c:v>2.871865863730375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0">
                  <c:v>2.838613105454714E-2</c:v>
                </c:pt>
                <c:pt idx="1">
                  <c:v>1.4291310224375185E-2</c:v>
                </c:pt>
                <c:pt idx="3">
                  <c:v>3.2232567299620533E-2</c:v>
                </c:pt>
                <c:pt idx="4">
                  <c:v>4.6673472637123369E-2</c:v>
                </c:pt>
                <c:pt idx="6">
                  <c:v>1.083198980432552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6.2900665974670459E-3</c:v>
                </c:pt>
                <c:pt idx="1">
                  <c:v>7.7522208554175742E-3</c:v>
                </c:pt>
                <c:pt idx="3">
                  <c:v>2.3805870005536967E-2</c:v>
                </c:pt>
                <c:pt idx="4">
                  <c:v>3.2759779200233451E-2</c:v>
                </c:pt>
                <c:pt idx="5">
                  <c:v>1.8087267957141041E-2</c:v>
                </c:pt>
                <c:pt idx="6">
                  <c:v>5.538756589229724E-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octer &amp; Gambl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0.11296636957545042</c:v>
                </c:pt>
                <c:pt idx="1">
                  <c:v>7.7801952971012153E-2</c:v>
                </c:pt>
                <c:pt idx="2">
                  <c:v>1.9328135407835154E-2</c:v>
                </c:pt>
                <c:pt idx="3">
                  <c:v>0.15102551359476754</c:v>
                </c:pt>
                <c:pt idx="4">
                  <c:v>0.28632175450065273</c:v>
                </c:pt>
                <c:pt idx="5">
                  <c:v>3.6301760805789098E-2</c:v>
                </c:pt>
                <c:pt idx="6">
                  <c:v>2.517523485586778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2">
                  <c:v>8.4683766483239652E-4</c:v>
                </c:pt>
                <c:pt idx="3">
                  <c:v>1.6684021399608975E-2</c:v>
                </c:pt>
                <c:pt idx="4">
                  <c:v>4.1187313050587461E-2</c:v>
                </c:pt>
                <c:pt idx="5">
                  <c:v>1.1288396053507383E-3</c:v>
                </c:pt>
                <c:pt idx="6">
                  <c:v>1.328076674515481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3">
                  <c:v>3.1810888739896518E-3</c:v>
                </c:pt>
                <c:pt idx="4">
                  <c:v>1.3210194386880864E-2</c:v>
                </c:pt>
                <c:pt idx="6">
                  <c:v>5.5499263828125514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79151444034320562</c:v>
                </c:pt>
                <c:pt idx="1">
                  <c:v>0.13400910309406328</c:v>
                </c:pt>
                <c:pt idx="2">
                  <c:v>6.9991565748937973E-2</c:v>
                </c:pt>
                <c:pt idx="3">
                  <c:v>4.4823290201488047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99903906857682756</c:v>
                </c:pt>
                <c:pt idx="1">
                  <c:v>9.6093142317238694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0">
                  <c:v>0.354059272225327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6426498988293264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2.3298975221737635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9.605109236904873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2409</c:v>
                </c:pt>
                <c:pt idx="3">
                  <c:v>0.42459999999999998</c:v>
                </c:pt>
                <c:pt idx="4">
                  <c:v>0.3343999999999999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3676601764592652E-2</c:v>
                </c:pt>
                <c:pt idx="1">
                  <c:v>0.15385450898353698</c:v>
                </c:pt>
                <c:pt idx="2">
                  <c:v>8.8616038673797227E-3</c:v>
                </c:pt>
                <c:pt idx="3">
                  <c:v>0.31193473799298188</c:v>
                </c:pt>
                <c:pt idx="4">
                  <c:v>0.43703919088978871</c:v>
                </c:pt>
                <c:pt idx="5">
                  <c:v>6.440443934606104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2.5550560133485053E-2</c:v>
                </c:pt>
                <c:pt idx="3">
                  <c:v>4.5031863417859849E-2</c:v>
                </c:pt>
                <c:pt idx="4">
                  <c:v>3.547049028614688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1.1669570768207274E-2</c:v>
                </c:pt>
                <c:pt idx="1">
                  <c:v>1.6759662218675982E-2</c:v>
                </c:pt>
                <c:pt idx="3">
                  <c:v>3.2161463499994332E-2</c:v>
                </c:pt>
                <c:pt idx="4">
                  <c:v>3.8426776043487584E-2</c:v>
                </c:pt>
                <c:pt idx="5">
                  <c:v>1.202079329970579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octer &amp; Gambl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1.2006411803306154E-2</c:v>
                </c:pt>
                <c:pt idx="1">
                  <c:v>0.11154428663137596</c:v>
                </c:pt>
                <c:pt idx="2">
                  <c:v>8.8602254256438268E-3</c:v>
                </c:pt>
                <c:pt idx="3">
                  <c:v>0.20626247310094423</c:v>
                </c:pt>
                <c:pt idx="4">
                  <c:v>0.3107803556956118</c:v>
                </c:pt>
                <c:pt idx="5">
                  <c:v>5.238321113693056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3">
                  <c:v>1.8190418398420097E-3</c:v>
                </c:pt>
                <c:pt idx="4">
                  <c:v>2.082420038898446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3">
                  <c:v>2.6659888762995305E-2</c:v>
                </c:pt>
                <c:pt idx="4">
                  <c:v>5.027905299814357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9.6000000000000002E-2</c:v>
                </c:pt>
                <c:pt idx="2">
                  <c:v>3.5999999999999999E-3</c:v>
                </c:pt>
                <c:pt idx="3">
                  <c:v>0.36359999999999998</c:v>
                </c:pt>
                <c:pt idx="4">
                  <c:v>0.51859999999999995</c:v>
                </c:pt>
                <c:pt idx="5">
                  <c:v>3.8999999999999998E-3</c:v>
                </c:pt>
                <c:pt idx="6">
                  <c:v>1.44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3918839258221552E-2</c:v>
                </c:pt>
                <c:pt idx="2">
                  <c:v>8.7879633575530317E-3</c:v>
                </c:pt>
                <c:pt idx="3">
                  <c:v>6.9665087048948054E-2</c:v>
                </c:pt>
                <c:pt idx="4">
                  <c:v>0.79866238263470068</c:v>
                </c:pt>
                <c:pt idx="5">
                  <c:v>0.10677532388149447</c:v>
                </c:pt>
                <c:pt idx="6">
                  <c:v>2.089651902521537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0">
                  <c:v>1.3918839258221552E-2</c:v>
                </c:pt>
                <c:pt idx="2">
                  <c:v>5.2145605526752548E-4</c:v>
                </c:pt>
                <c:pt idx="3">
                  <c:v>5.2741072162413243E-2</c:v>
                </c:pt>
                <c:pt idx="4">
                  <c:v>7.5224768140162351E-2</c:v>
                </c:pt>
                <c:pt idx="5">
                  <c:v>5.6704741173360022E-4</c:v>
                </c:pt>
                <c:pt idx="6">
                  <c:v>2.089206213585411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2">
                  <c:v>8.2594287132999739E-3</c:v>
                </c:pt>
                <c:pt idx="3">
                  <c:v>1.1564474344637359E-2</c:v>
                </c:pt>
                <c:pt idx="4">
                  <c:v>0.64379051099416296</c:v>
                </c:pt>
                <c:pt idx="5">
                  <c:v>6.77755756957433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Unilever</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3">
                  <c:v>5.3595405418974474E-3</c:v>
                </c:pt>
                <c:pt idx="4">
                  <c:v>4.541984487665493E-2</c:v>
                </c:pt>
                <c:pt idx="5">
                  <c:v>3.789320742533498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4">
                  <c:v>2.219538767006801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4">
                  <c:v>1.2031451481712531E-2</c:v>
                </c:pt>
                <c:pt idx="5">
                  <c:v>5.3949334868251075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2.7400000000000001E-2</c:v>
                </c:pt>
                <c:pt idx="1">
                  <c:v>0.22159999999999999</c:v>
                </c:pt>
                <c:pt idx="3">
                  <c:v>0.2928</c:v>
                </c:pt>
                <c:pt idx="4">
                  <c:v>0.41899999999999998</c:v>
                </c:pt>
                <c:pt idx="5">
                  <c:v>3.4299999999999997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9811899753457555E-2</c:v>
                </c:pt>
                <c:pt idx="1">
                  <c:v>0.12863438504877911</c:v>
                </c:pt>
                <c:pt idx="2">
                  <c:v>1.617438812802691E-2</c:v>
                </c:pt>
                <c:pt idx="3">
                  <c:v>0.1787264162112992</c:v>
                </c:pt>
                <c:pt idx="4">
                  <c:v>0.41294679811605201</c:v>
                </c:pt>
                <c:pt idx="5">
                  <c:v>0.15908671481789266</c:v>
                </c:pt>
                <c:pt idx="6">
                  <c:v>4.461939792449262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0">
                  <c:v>9.741391394088930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69291539934321889</c:v>
                </c:pt>
                <c:pt idx="1">
                  <c:v>0.13374459376836589</c:v>
                </c:pt>
                <c:pt idx="2">
                  <c:v>4.7182594717816197E-2</c:v>
                </c:pt>
                <c:pt idx="3">
                  <c:v>4.4823290201488047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bg</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5.4242261684972991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0">
                  <c:v>6.4270444224769259E-4</c:v>
                </c:pt>
                <c:pt idx="2">
                  <c:v>6.0658811017358831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2">
                  <c:v>1.67408338982088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0">
                  <c:v>1.5814220772027486E-3</c:v>
                </c:pt>
                <c:pt idx="1">
                  <c:v>1.2803496660987911E-2</c:v>
                </c:pt>
                <c:pt idx="3">
                  <c:v>1.6918356414738208E-2</c:v>
                </c:pt>
                <c:pt idx="4">
                  <c:v>2.4211695474307137E-2</c:v>
                </c:pt>
                <c:pt idx="5">
                  <c:v>1.9820000999802912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5.8230070013119313E-2</c:v>
                </c:pt>
                <c:pt idx="1">
                  <c:v>8.8048983205579232E-2</c:v>
                </c:pt>
                <c:pt idx="2">
                  <c:v>1.25366212595055E-2</c:v>
                </c:pt>
                <c:pt idx="3">
                  <c:v>0.10445418003958507</c:v>
                </c:pt>
                <c:pt idx="4">
                  <c:v>0.2317706651716599</c:v>
                </c:pt>
                <c:pt idx="5">
                  <c:v>7.959480340793075E-2</c:v>
                </c:pt>
                <c:pt idx="6">
                  <c:v>4.375575570901525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1">
                  <c:v>4.9022496079644557E-3</c:v>
                </c:pt>
                <c:pt idx="2">
                  <c:v>9.8226492980799888E-4</c:v>
                </c:pt>
                <c:pt idx="3">
                  <c:v>1.2124385522672376E-2</c:v>
                </c:pt>
                <c:pt idx="4">
                  <c:v>2.4077957772208062E-2</c:v>
                </c:pt>
                <c:pt idx="5">
                  <c:v>1.868071076249125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1.6390683058636021E-3</c:v>
                </c:pt>
                <c:pt idx="3">
                  <c:v>3.6741565493577689E-3</c:v>
                </c:pt>
                <c:pt idx="4">
                  <c:v>2.6876123663100049E-2</c:v>
                </c:pt>
                <c:pt idx="5">
                  <c:v>6.9320091983077628E-3</c:v>
                </c:pt>
                <c:pt idx="6">
                  <c:v>7.0595521143034206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2.1240587268383907E-2</c:v>
                </c:pt>
                <c:pt idx="2">
                  <c:v>2.4570328952396164E-3</c:v>
                </c:pt>
                <c:pt idx="3">
                  <c:v>4.143428471767982E-2</c:v>
                </c:pt>
                <c:pt idx="4">
                  <c:v>0.105971790134413</c:v>
                </c:pt>
                <c:pt idx="5">
                  <c:v>5.158085564318733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23549999999999999</c:v>
                </c:pt>
                <c:pt idx="3">
                  <c:v>0.37169999999999997</c:v>
                </c:pt>
                <c:pt idx="4">
                  <c:v>0.3864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2119008831171317</c:v>
                </c:pt>
                <c:pt idx="3">
                  <c:v>0.20471033163355459</c:v>
                </c:pt>
                <c:pt idx="4">
                  <c:v>0.49174817577483476</c:v>
                </c:pt>
                <c:pt idx="5">
                  <c:v>0.15852791178904352</c:v>
                </c:pt>
                <c:pt idx="6">
                  <c:v>2.380973105026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1.3014362559425962E-2</c:v>
                </c:pt>
                <c:pt idx="3">
                  <c:v>2.0538843044114907E-2</c:v>
                </c:pt>
                <c:pt idx="4">
                  <c:v>2.135572598003905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1">
                  <c:v>6.1040257339856421E-2</c:v>
                </c:pt>
                <c:pt idx="3">
                  <c:v>9.8776310149445837E-2</c:v>
                </c:pt>
                <c:pt idx="4">
                  <c:v>0.25099184914078859</c:v>
                </c:pt>
                <c:pt idx="5">
                  <c:v>8.1661993950401912E-2</c:v>
                </c:pt>
                <c:pt idx="6">
                  <c:v>2.3785289202732814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bg</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1">
                  <c:v>2.6953272214264986E-3</c:v>
                </c:pt>
                <c:pt idx="3">
                  <c:v>8.6042069358432741E-3</c:v>
                </c:pt>
                <c:pt idx="4">
                  <c:v>5.0974440153920338E-2</c:v>
                </c:pt>
                <c:pt idx="5">
                  <c:v>9.0764040112626832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rry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2.940485756452188E-2</c:v>
                </c:pt>
                <c:pt idx="3">
                  <c:v>5.073121433677278E-2</c:v>
                </c:pt>
                <c:pt idx="4">
                  <c:v>0.13175279289105693</c:v>
                </c:pt>
                <c:pt idx="5">
                  <c:v>5.20449655529926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1.5035283626482408E-2</c:v>
                </c:pt>
                <c:pt idx="3">
                  <c:v>2.6059757167377792E-2</c:v>
                </c:pt>
                <c:pt idx="4">
                  <c:v>3.6670233058673708E-2</c:v>
                </c:pt>
                <c:pt idx="5">
                  <c:v>1.539092130012173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0.36959999999999998</c:v>
                </c:pt>
                <c:pt idx="6">
                  <c:v>0.6264999999999999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7914341314730287</c:v>
                </c:pt>
                <c:pt idx="2">
                  <c:v>8.4364117124532151E-2</c:v>
                </c:pt>
                <c:pt idx="3">
                  <c:v>1.5333126939495881E-2</c:v>
                </c:pt>
                <c:pt idx="4">
                  <c:v>0.13305012583123729</c:v>
                </c:pt>
                <c:pt idx="5">
                  <c:v>9.152090246457141E-2</c:v>
                </c:pt>
                <c:pt idx="6">
                  <c:v>0.4965880831960682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4">
                  <c:v>4.4288709744383509E-3</c:v>
                </c:pt>
                <c:pt idx="6">
                  <c:v>7.508009518788180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17914341314730287</c:v>
                </c:pt>
                <c:pt idx="4">
                  <c:v>3.4782411590559809E-2</c:v>
                </c:pt>
                <c:pt idx="5">
                  <c:v>6.1748148093322243E-3</c:v>
                </c:pt>
                <c:pt idx="6">
                  <c:v>0.4854253530658794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bg</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2">
                  <c:v>8.43571782207702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Universal Beauty Prods In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4">
                  <c:v>2.062473494833234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4">
                  <c:v>1</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hers</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numCache>
            </c:numRef>
          </c:val>
          <c:extLst xmlns:c15="http://schemas.microsoft.com/office/drawing/2012/chart">
            <c:ext xmlns:c16="http://schemas.microsoft.com/office/drawing/2014/chart" uri="{C3380CC4-5D6E-409C-BE32-E72D297353CC}">
              <c16:uniqueId val="{00000003-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34949999999999998</c:v>
                </c:pt>
                <c:pt idx="3">
                  <c:v>0.33989999999999998</c:v>
                </c:pt>
                <c:pt idx="4">
                  <c:v>0.3078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49070000000000003</c:v>
                </c:pt>
                <c:pt idx="3">
                  <c:v>8.4699999999999998E-2</c:v>
                </c:pt>
                <c:pt idx="4">
                  <c:v>0.35620000000000002</c:v>
                </c:pt>
                <c:pt idx="5">
                  <c:v>3.8899999999999997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1823329995551488</c:v>
                </c:pt>
                <c:pt idx="1">
                  <c:v>0.13361675834205811</c:v>
                </c:pt>
                <c:pt idx="2">
                  <c:v>4.8880124497624411E-2</c:v>
                </c:pt>
                <c:pt idx="3">
                  <c:v>0.15359613325769619</c:v>
                </c:pt>
                <c:pt idx="4">
                  <c:v>0.36650771385969316</c:v>
                </c:pt>
                <c:pt idx="5">
                  <c:v>0.13474681001570138</c:v>
                </c:pt>
                <c:pt idx="6">
                  <c:v>3.916532693055487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1.0615809464573456E-2</c:v>
                </c:pt>
                <c:pt idx="3">
                  <c:v>1.8325476641331861E-3</c:v>
                </c:pt>
                <c:pt idx="4">
                  <c:v>7.7056433773377434E-3</c:v>
                </c:pt>
                <c:pt idx="5">
                  <c:v>8.4060012281591764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11361554073781274</c:v>
                </c:pt>
                <c:pt idx="1">
                  <c:v>9.5923327394452571E-2</c:v>
                </c:pt>
                <c:pt idx="2">
                  <c:v>3.8962803103360227E-2</c:v>
                </c:pt>
                <c:pt idx="3">
                  <c:v>0.10608854516237798</c:v>
                </c:pt>
                <c:pt idx="4">
                  <c:v>0.21548194286226896</c:v>
                </c:pt>
                <c:pt idx="5">
                  <c:v>6.4664389193548028E-2</c:v>
                </c:pt>
                <c:pt idx="6">
                  <c:v>3.782014569502834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1.7395310459154172E-3</c:v>
                </c:pt>
                <c:pt idx="3">
                  <c:v>1.0433017974987673E-3</c:v>
                </c:pt>
                <c:pt idx="4">
                  <c:v>3.7099930854563906E-3</c:v>
                </c:pt>
                <c:pt idx="5">
                  <c:v>8.2944892651299782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i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0">
                  <c:v>2.1197729455099648E-3</c:v>
                </c:pt>
                <c:pt idx="1">
                  <c:v>5.832559983247592E-3</c:v>
                </c:pt>
                <c:pt idx="2">
                  <c:v>3.7223892141767527E-3</c:v>
                </c:pt>
                <c:pt idx="3">
                  <c:v>1.0373007945072146E-2</c:v>
                </c:pt>
                <c:pt idx="4">
                  <c:v>2.305145446768337E-2</c:v>
                </c:pt>
                <c:pt idx="5">
                  <c:v>1.992970465286051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2.0871937469528184E-2</c:v>
                </c:pt>
                <c:pt idx="2">
                  <c:v>5.5199565004734105E-3</c:v>
                </c:pt>
                <c:pt idx="3">
                  <c:v>3.4247172189804706E-2</c:v>
                </c:pt>
                <c:pt idx="4">
                  <c:v>0.11623870544095594</c:v>
                </c:pt>
                <c:pt idx="5">
                  <c:v>4.8226451612457068E-2</c:v>
                </c:pt>
                <c:pt idx="6">
                  <c:v>9.1080621274725829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97319999999999995</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5.7150898244983046E-2</c:v>
                </c:pt>
                <c:pt idx="1">
                  <c:v>0.14931957036657539</c:v>
                </c:pt>
                <c:pt idx="2">
                  <c:v>3.8860694610020008E-2</c:v>
                </c:pt>
                <c:pt idx="3">
                  <c:v>0.18101855860638508</c:v>
                </c:pt>
                <c:pt idx="4">
                  <c:v>0.41703205319027975</c:v>
                </c:pt>
                <c:pt idx="5">
                  <c:v>0.13789983777234846</c:v>
                </c:pt>
                <c:pt idx="6">
                  <c:v>1.548442889306733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1.227309931597544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5.3215294888902621E-2</c:v>
                </c:pt>
                <c:pt idx="1">
                  <c:v>9.1157508287896941E-2</c:v>
                </c:pt>
                <c:pt idx="2">
                  <c:v>2.5840692775806938E-2</c:v>
                </c:pt>
                <c:pt idx="3">
                  <c:v>0.11579727947865413</c:v>
                </c:pt>
                <c:pt idx="4">
                  <c:v>0.23155377353218912</c:v>
                </c:pt>
                <c:pt idx="5">
                  <c:v>7.0768405189971323E-2</c:v>
                </c:pt>
                <c:pt idx="6">
                  <c:v>1.546835783965139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3.935367199843067E-3</c:v>
                </c:pt>
                <c:pt idx="1">
                  <c:v>1.5429357258515637E-2</c:v>
                </c:pt>
                <c:pt idx="2">
                  <c:v>6.5647083738816702E-3</c:v>
                </c:pt>
                <c:pt idx="3">
                  <c:v>1.8249453011815714E-2</c:v>
                </c:pt>
                <c:pt idx="4">
                  <c:v>3.3739763438120803E-2</c:v>
                </c:pt>
                <c:pt idx="5">
                  <c:v>1.468310852017722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1.1327358217593347E-2</c:v>
                </c:pt>
                <c:pt idx="3">
                  <c:v>5.5953243073574221E-3</c:v>
                </c:pt>
                <c:pt idx="4">
                  <c:v>4.5596039537595445E-2</c:v>
                </c:pt>
                <c:pt idx="5">
                  <c:v>5.9106823750139327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1.9122008049313261E-2</c:v>
                </c:pt>
                <c:pt idx="2">
                  <c:v>6.4549454406131858E-3</c:v>
                </c:pt>
                <c:pt idx="3">
                  <c:v>4.1374160133025265E-2</c:v>
                </c:pt>
                <c:pt idx="4">
                  <c:v>0.10602653888496277</c:v>
                </c:pt>
                <c:pt idx="5">
                  <c:v>4.631561007867789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5509999999999999</c:v>
                </c:pt>
                <c:pt idx="1">
                  <c:v>0.1729</c:v>
                </c:pt>
                <c:pt idx="3">
                  <c:v>0.29659999999999997</c:v>
                </c:pt>
                <c:pt idx="4">
                  <c:v>0.36309999999999998</c:v>
                </c:pt>
                <c:pt idx="5">
                  <c:v>6.1000000000000004E-3</c:v>
                </c:pt>
                <c:pt idx="6">
                  <c:v>6.1000000000000004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3.3931180563679934E-2</c:v>
                </c:pt>
                <c:pt idx="1">
                  <c:v>9.8903016925942902E-2</c:v>
                </c:pt>
                <c:pt idx="2">
                  <c:v>3.0435090571824988E-2</c:v>
                </c:pt>
                <c:pt idx="3">
                  <c:v>0.13467959124342999</c:v>
                </c:pt>
                <c:pt idx="4">
                  <c:v>0.2767129028107882</c:v>
                </c:pt>
                <c:pt idx="5">
                  <c:v>1.334691405308177E-2</c:v>
                </c:pt>
                <c:pt idx="6">
                  <c:v>4.6537097308795832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0">
                  <c:v>2.7853086356441143E-2</c:v>
                </c:pt>
                <c:pt idx="1">
                  <c:v>3.1041417360151344E-2</c:v>
                </c:pt>
                <c:pt idx="3">
                  <c:v>5.3251833909489274E-2</c:v>
                </c:pt>
                <c:pt idx="4">
                  <c:v>6.5196157154452178E-2</c:v>
                </c:pt>
                <c:pt idx="5">
                  <c:v>1.10333907110183E-3</c:v>
                </c:pt>
                <c:pt idx="6">
                  <c:v>1.102789404074590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5.2897814776494767E-3</c:v>
                </c:pt>
                <c:pt idx="1">
                  <c:v>3.8291827556513301E-2</c:v>
                </c:pt>
                <c:pt idx="2">
                  <c:v>2.7485027636628741E-2</c:v>
                </c:pt>
                <c:pt idx="3">
                  <c:v>4.7453157271040332E-2</c:v>
                </c:pt>
                <c:pt idx="4">
                  <c:v>0.12875213517317546</c:v>
                </c:pt>
                <c:pt idx="5">
                  <c:v>8.6047981433439464E-3</c:v>
                </c:pt>
                <c:pt idx="6">
                  <c:v>3.057806064398267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7.8826657434274657E-4</c:v>
                </c:pt>
                <c:pt idx="1">
                  <c:v>2.8797903135259602E-2</c:v>
                </c:pt>
                <c:pt idx="2">
                  <c:v>2.907291707393427E-3</c:v>
                </c:pt>
                <c:pt idx="3">
                  <c:v>2.1972610033289597E-2</c:v>
                </c:pt>
                <c:pt idx="4">
                  <c:v>6.1713439596305736E-2</c:v>
                </c:pt>
                <c:pt idx="5">
                  <c:v>1.271493124156413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3">
                  <c:v>1.2001990029610773E-2</c:v>
                </c:pt>
                <c:pt idx="4">
                  <c:v>1.9144602549661136E-2</c:v>
                </c:pt>
                <c:pt idx="5">
                  <c:v>9.209671041403597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4">
                  <c:v>1.4845939954994942E-3</c:v>
                </c:pt>
                <c:pt idx="5">
                  <c:v>1.1565204049701614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4.6800466885093886E-2</c:v>
                </c:pt>
                <c:pt idx="1">
                  <c:v>0.15887526096647492</c:v>
                </c:pt>
                <c:pt idx="2">
                  <c:v>3.3053446443782955E-2</c:v>
                </c:pt>
                <c:pt idx="3">
                  <c:v>0.20533116933605744</c:v>
                </c:pt>
                <c:pt idx="4">
                  <c:v>0.42438959316682395</c:v>
                </c:pt>
                <c:pt idx="5">
                  <c:v>0.11671716760849332</c:v>
                </c:pt>
                <c:pt idx="6">
                  <c:v>1.4832895593273604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47111903724828619</c:v>
                </c:pt>
                <c:pt idx="1">
                  <c:v>0.2018390072501027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0">
                  <c:v>0.3909619859057491</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Bic</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2.575224388555013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octer &amp; Gamble</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7.7581826953982094E-2</c:v>
                </c:pt>
                <c:pt idx="1">
                  <c:v>0.2018390072501027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numCache>
            </c:numRef>
          </c:val>
          <c:extLst>
            <c:ext xmlns:c16="http://schemas.microsoft.com/office/drawing/2014/chart" uri="{C3380CC4-5D6E-409C-BE32-E72D297353CC}">
              <c16:uniqueId val="{00000009-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23930000000000001</c:v>
                </c:pt>
                <c:pt idx="3">
                  <c:v>0.39989999999999998</c:v>
                </c:pt>
                <c:pt idx="4">
                  <c:v>0.3605999999999999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1">
                  <c:v>0.1213056206477294</c:v>
                </c:pt>
                <c:pt idx="2">
                  <c:v>4.0799911518768156E-3</c:v>
                </c:pt>
                <c:pt idx="3">
                  <c:v>0.18923772329823765</c:v>
                </c:pt>
                <c:pt idx="4">
                  <c:v>0.27471882174606954</c:v>
                </c:pt>
                <c:pt idx="5">
                  <c:v>1.2555430394257145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4.6356024703632842E-2</c:v>
                </c:pt>
                <c:pt idx="3">
                  <c:v>7.7464278107905793E-2</c:v>
                </c:pt>
                <c:pt idx="4">
                  <c:v>6.985222310545577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1">
                  <c:v>3.6545803735546938E-2</c:v>
                </c:pt>
                <c:pt idx="2">
                  <c:v>4.0237491927615759E-3</c:v>
                </c:pt>
                <c:pt idx="3">
                  <c:v>5.5353780105665933E-2</c:v>
                </c:pt>
                <c:pt idx="4">
                  <c:v>0.12072820949789728</c:v>
                </c:pt>
                <c:pt idx="5">
                  <c:v>9.519707230376799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1">
                  <c:v>3.8403792208549607E-2</c:v>
                </c:pt>
                <c:pt idx="3">
                  <c:v>3.2018292292389665E-2</c:v>
                </c:pt>
                <c:pt idx="4">
                  <c:v>6.0075061830227913E-2</c:v>
                </c:pt>
                <c:pt idx="5">
                  <c:v>3.0227759086569593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3">
                  <c:v>2.4401372792276242E-2</c:v>
                </c:pt>
                <c:pt idx="4">
                  <c:v>2.406332731248857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5699999999999999E-2</c:v>
                </c:pt>
                <c:pt idx="1">
                  <c:v>9.3600000000000003E-2</c:v>
                </c:pt>
                <c:pt idx="3">
                  <c:v>0.42830000000000001</c:v>
                </c:pt>
                <c:pt idx="4">
                  <c:v>0.41899999999999998</c:v>
                </c:pt>
                <c:pt idx="5">
                  <c:v>4.34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1.2551672181083783E-2</c:v>
                </c:pt>
                <c:pt idx="1">
                  <c:v>7.5031349828207833E-2</c:v>
                </c:pt>
                <c:pt idx="3">
                  <c:v>0.34341604687227373</c:v>
                </c:pt>
                <c:pt idx="4">
                  <c:v>0.33596579485063782</c:v>
                </c:pt>
                <c:pt idx="5">
                  <c:v>3.479741243654615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0">
                  <c:v>1.2551672181083783E-2</c:v>
                </c:pt>
                <c:pt idx="1">
                  <c:v>7.5031349828207833E-2</c:v>
                </c:pt>
                <c:pt idx="3">
                  <c:v>0.34341604687227373</c:v>
                </c:pt>
                <c:pt idx="4">
                  <c:v>0.33596579485063782</c:v>
                </c:pt>
                <c:pt idx="5">
                  <c:v>3.479741243654615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hers</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numCache>
            </c:numRef>
          </c:val>
          <c:extLst xmlns:c15="http://schemas.microsoft.com/office/drawing/2012/chart">
            <c:ext xmlns:c16="http://schemas.microsoft.com/office/drawing/2014/chart" uri="{C3380CC4-5D6E-409C-BE32-E72D297353CC}">
              <c16:uniqueId val="{00000003-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0.75139999999999996</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5">
                  <c:v>2.103917726894325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1">
                  <c:v>2.4036697940940425E-2</c:v>
                </c:pt>
                <c:pt idx="3">
                  <c:v>2.337442473461784E-2</c:v>
                </c:pt>
                <c:pt idx="4">
                  <c:v>2.116862855459404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4.3577172293205881E-2</c:v>
                </c:pt>
                <c:pt idx="1">
                  <c:v>8.5673842615887341E-2</c:v>
                </c:pt>
                <c:pt idx="2">
                  <c:v>2.2374601679534672E-2</c:v>
                </c:pt>
                <c:pt idx="3">
                  <c:v>0.1115255979675184</c:v>
                </c:pt>
                <c:pt idx="4">
                  <c:v>0.2260428014698308</c:v>
                </c:pt>
                <c:pt idx="5">
                  <c:v>6.0824845694725634E-2</c:v>
                </c:pt>
                <c:pt idx="6">
                  <c:v>1.4818296070201672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i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3.2227001885504385E-3</c:v>
                </c:pt>
                <c:pt idx="1">
                  <c:v>2.4221826081801248E-2</c:v>
                </c:pt>
                <c:pt idx="2">
                  <c:v>5.3925756792090199E-3</c:v>
                </c:pt>
                <c:pt idx="3">
                  <c:v>2.460456279798386E-2</c:v>
                </c:pt>
                <c:pt idx="4">
                  <c:v>4.5754459504933183E-2</c:v>
                </c:pt>
                <c:pt idx="5">
                  <c:v>1.2935782023209073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bg</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1">
                  <c:v>9.2757963984873779E-3</c:v>
                </c:pt>
                <c:pt idx="3">
                  <c:v>1.1944162548435423E-2</c:v>
                </c:pt>
                <c:pt idx="4">
                  <c:v>4.459812923681844E-2</c:v>
                </c:pt>
                <c:pt idx="5">
                  <c:v>4.8401653089422342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1">
                  <c:v>1.5658713178168714E-2</c:v>
                </c:pt>
                <c:pt idx="2">
                  <c:v>5.2858538169541112E-3</c:v>
                </c:pt>
                <c:pt idx="3">
                  <c:v>3.3882419251874026E-2</c:v>
                </c:pt>
                <c:pt idx="4">
                  <c:v>8.6823860401982283E-2</c:v>
                </c:pt>
                <c:pt idx="5">
                  <c:v>3.792740317534008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5">
                  <c:v>2.10391772689432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Others</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numCache>
            </c:numRef>
          </c:val>
          <c:extLst xmlns:c15="http://schemas.microsoft.com/office/drawing/2012/chart">
            <c:ext xmlns:c16="http://schemas.microsoft.com/office/drawing/2014/chart" uri="{C3380CC4-5D6E-409C-BE32-E72D297353CC}">
              <c16:uniqueId val="{00000003-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0.54420000000000002</c:v>
                </c:pt>
                <c:pt idx="6">
                  <c:v>0.452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7313884785307801</c:v>
                </c:pt>
                <c:pt idx="2">
                  <c:v>8.0355242643536565E-2</c:v>
                </c:pt>
                <c:pt idx="3">
                  <c:v>2.3207513031132602E-2</c:v>
                </c:pt>
                <c:pt idx="4">
                  <c:v>2.8652200647899802E-2</c:v>
                </c:pt>
                <c:pt idx="5">
                  <c:v>1.5795417283936924E-3</c:v>
                </c:pt>
                <c:pt idx="6">
                  <c:v>0.5436256115221623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4">
                  <c:v>1.3543955072661693E-2</c:v>
                </c:pt>
                <c:pt idx="6">
                  <c:v>1.125141853731039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0.17313884785307801</c:v>
                </c:pt>
                <c:pt idx="2">
                  <c:v>8.0307929181626159E-2</c:v>
                </c:pt>
                <c:pt idx="4">
                  <c:v>1.1543791468602925E-2</c:v>
                </c:pt>
                <c:pt idx="5">
                  <c:v>1.4684504130655866E-3</c:v>
                </c:pt>
                <c:pt idx="6">
                  <c:v>0.5269782053050695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rry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4">
                  <c:v>9.0467498597927084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Universal Beauty Prods In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4">
                  <c:v>2.6440079666857769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4">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2">
                  <c:v>0.99930379628939725</c:v>
                </c:pt>
                <c:pt idx="4">
                  <c:v>6.9620371060278663E-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Edgewell Personal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4">
                  <c:v>6.9620371060278663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octer &amp; Gambl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2">
                  <c:v>0.9986681320318903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Unilever</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2">
                  <c:v>6.356642575068922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numCache>
            </c:numRef>
          </c:val>
          <c:extLst>
            <c:ext xmlns:c16="http://schemas.microsoft.com/office/drawing/2014/chart" uri="{C3380CC4-5D6E-409C-BE32-E72D297353CC}">
              <c16:uniqueId val="{00000009-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2089999999999999</c:v>
                </c:pt>
                <c:pt idx="1">
                  <c:v>0.2492</c:v>
                </c:pt>
                <c:pt idx="2">
                  <c:v>1.6000000000000001E-3</c:v>
                </c:pt>
                <c:pt idx="3">
                  <c:v>0.25790000000000002</c:v>
                </c:pt>
                <c:pt idx="4">
                  <c:v>0.35770000000000002</c:v>
                </c:pt>
                <c:pt idx="5">
                  <c:v>6.7999999999999996E-3</c:v>
                </c:pt>
                <c:pt idx="6">
                  <c:v>5.7999999999999996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8</c:f>
              <c:numCache>
                <c:formatCode>General</c:formatCode>
                <c:ptCount val="7"/>
                <c:pt idx="0">
                  <c:v>0.10753569081840399</c:v>
                </c:pt>
                <c:pt idx="1">
                  <c:v>0.13971821210992383</c:v>
                </c:pt>
                <c:pt idx="2">
                  <c:v>4.9530846352275518E-2</c:v>
                </c:pt>
                <c:pt idx="3">
                  <c:v>0.16819133898787419</c:v>
                </c:pt>
                <c:pt idx="4">
                  <c:v>0.38554060799969914</c:v>
                </c:pt>
                <c:pt idx="5">
                  <c:v>0.11409393680722739</c:v>
                </c:pt>
                <c:pt idx="6">
                  <c:v>3.5389366924596002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Schick</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B$2:$B$8</c:f>
              <c:numCache>
                <c:formatCode>General</c:formatCode>
                <c:ptCount val="7"/>
                <c:pt idx="0">
                  <c:v>8.9852777622163992E-3</c:v>
                </c:pt>
                <c:pt idx="1">
                  <c:v>1.8526162561037802E-2</c:v>
                </c:pt>
                <c:pt idx="2">
                  <c:v>1.1949659473890677E-4</c:v>
                </c:pt>
                <c:pt idx="3">
                  <c:v>1.9170013426005158E-2</c:v>
                </c:pt>
                <c:pt idx="4">
                  <c:v>2.6587217999601207E-2</c:v>
                </c:pt>
                <c:pt idx="5">
                  <c:v>5.0662202060703298E-4</c:v>
                </c:pt>
                <c:pt idx="6">
                  <c:v>4.3376512534682631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Gillett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C$2:$C$8</c:f>
              <c:numCache>
                <c:formatCode>General</c:formatCode>
                <c:ptCount val="7"/>
                <c:pt idx="0">
                  <c:v>9.3884389662038409E-2</c:v>
                </c:pt>
                <c:pt idx="1">
                  <c:v>8.9999516517917988E-2</c:v>
                </c:pt>
                <c:pt idx="2">
                  <c:v>4.0537001454274857E-2</c:v>
                </c:pt>
                <c:pt idx="3">
                  <c:v>0.10111124889054686</c:v>
                </c:pt>
                <c:pt idx="4">
                  <c:v>0.21520797885067081</c:v>
                </c:pt>
                <c:pt idx="5">
                  <c:v>5.5368084186756955E-2</c:v>
                </c:pt>
                <c:pt idx="6">
                  <c:v>3.298984667177440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ev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D$2:$D$8</c:f>
              <c:numCache>
                <c:formatCode>General</c:formatCode>
                <c:ptCount val="7"/>
                <c:pt idx="0">
                  <c:v>1.0024772004494113E-3</c:v>
                </c:pt>
                <c:pt idx="6">
                  <c:v>7.4860186453750517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E$2:$E$8</c:f>
              <c:numCache>
                <c:formatCode>General</c:formatCode>
                <c:ptCount val="7"/>
                <c:pt idx="0">
                  <c:v>1.4179004491987836E-3</c:v>
                </c:pt>
                <c:pt idx="3">
                  <c:v>8.5040050926192545E-4</c:v>
                </c:pt>
                <c:pt idx="4">
                  <c:v>3.4819886667730618E-3</c:v>
                </c:pt>
                <c:pt idx="5">
                  <c:v>7.6513103926672589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15+ CT</c:v>
                </c:pt>
                <c:pt idx="1">
                  <c:v>12-14 CT</c:v>
                </c:pt>
                <c:pt idx="2">
                  <c:v>9-11 CT</c:v>
                </c:pt>
                <c:pt idx="3">
                  <c:v>6-8 CT</c:v>
                </c:pt>
                <c:pt idx="4">
                  <c:v>3-5 CT</c:v>
                </c:pt>
                <c:pt idx="5">
                  <c:v>2 CT</c:v>
                </c:pt>
                <c:pt idx="6">
                  <c:v>1 CT</c:v>
                </c:pt>
              </c:strCache>
            </c:strRef>
          </c:cat>
          <c:val>
            <c:numRef>
              <c:f>Sheet1!$F$2:$F$8</c:f>
              <c:numCache>
                <c:formatCode>General</c:formatCode>
                <c:ptCount val="7"/>
                <c:pt idx="0">
                  <c:v>1.913967898306703E-3</c:v>
                </c:pt>
                <c:pt idx="1">
                  <c:v>3.0774431824228374E-2</c:v>
                </c:pt>
                <c:pt idx="2">
                  <c:v>8.4247574687089932E-3</c:v>
                </c:pt>
                <c:pt idx="3">
                  <c:v>4.6850869862494531E-2</c:v>
                </c:pt>
                <c:pt idx="4">
                  <c:v>0.13920659593711501</c:v>
                </c:pt>
                <c:pt idx="5">
                  <c:v>5.6989556038908783E-2</c:v>
                </c:pt>
                <c:pt idx="6">
                  <c:v>7.423988129819834E-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6/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8/6/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8/6/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8/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8/6/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8/6/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8/6/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8/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8/6/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8/6/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8/6/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0.xml"/><Relationship Id="rId2" Type="http://schemas.openxmlformats.org/officeDocument/2006/relationships/slideLayout" Target="../slideLayouts/slideLayout7.xml"/><Relationship Id="rId1" Type="http://schemas.openxmlformats.org/officeDocument/2006/relationships/tags" Target="../tags/tag127.xml"/><Relationship Id="rId6" Type="http://schemas.openxmlformats.org/officeDocument/2006/relationships/chart" Target="../charts/chart299.xml"/><Relationship Id="rId5" Type="http://schemas.openxmlformats.org/officeDocument/2006/relationships/chart" Target="../charts/chart298.xml"/><Relationship Id="rId4" Type="http://schemas.openxmlformats.org/officeDocument/2006/relationships/image" Target="../media/image28.emf"/></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3.xml"/><Relationship Id="rId2" Type="http://schemas.openxmlformats.org/officeDocument/2006/relationships/slideLayout" Target="../slideLayouts/slideLayout7.xml"/><Relationship Id="rId1" Type="http://schemas.openxmlformats.org/officeDocument/2006/relationships/tags" Target="../tags/tag128.xml"/><Relationship Id="rId6" Type="http://schemas.openxmlformats.org/officeDocument/2006/relationships/chart" Target="../charts/chart302.xml"/><Relationship Id="rId5" Type="http://schemas.openxmlformats.org/officeDocument/2006/relationships/chart" Target="../charts/chart301.xml"/><Relationship Id="rId4" Type="http://schemas.openxmlformats.org/officeDocument/2006/relationships/image" Target="../media/image28.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6.xml"/><Relationship Id="rId2" Type="http://schemas.openxmlformats.org/officeDocument/2006/relationships/slideLayout" Target="../slideLayouts/slideLayout7.xml"/><Relationship Id="rId1" Type="http://schemas.openxmlformats.org/officeDocument/2006/relationships/tags" Target="../tags/tag129.xml"/><Relationship Id="rId6" Type="http://schemas.openxmlformats.org/officeDocument/2006/relationships/chart" Target="../charts/chart305.xml"/><Relationship Id="rId5" Type="http://schemas.openxmlformats.org/officeDocument/2006/relationships/chart" Target="../charts/chart304.xml"/><Relationship Id="rId4" Type="http://schemas.openxmlformats.org/officeDocument/2006/relationships/image" Target="../media/image28.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9.xml"/><Relationship Id="rId2" Type="http://schemas.openxmlformats.org/officeDocument/2006/relationships/slideLayout" Target="../slideLayouts/slideLayout7.xml"/><Relationship Id="rId1" Type="http://schemas.openxmlformats.org/officeDocument/2006/relationships/tags" Target="../tags/tag130.xml"/><Relationship Id="rId6" Type="http://schemas.openxmlformats.org/officeDocument/2006/relationships/chart" Target="../charts/chart308.xml"/><Relationship Id="rId5" Type="http://schemas.openxmlformats.org/officeDocument/2006/relationships/chart" Target="../charts/chart307.xml"/><Relationship Id="rId4" Type="http://schemas.openxmlformats.org/officeDocument/2006/relationships/image" Target="../media/image28.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12.xml"/><Relationship Id="rId2" Type="http://schemas.openxmlformats.org/officeDocument/2006/relationships/slideLayout" Target="../slideLayouts/slideLayout7.xml"/><Relationship Id="rId1" Type="http://schemas.openxmlformats.org/officeDocument/2006/relationships/tags" Target="../tags/tag131.xml"/><Relationship Id="rId6" Type="http://schemas.openxmlformats.org/officeDocument/2006/relationships/chart" Target="../charts/chart311.xml"/><Relationship Id="rId5" Type="http://schemas.openxmlformats.org/officeDocument/2006/relationships/chart" Target="../charts/chart310.xml"/><Relationship Id="rId4" Type="http://schemas.openxmlformats.org/officeDocument/2006/relationships/image" Target="../media/image28.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15.xml"/><Relationship Id="rId2" Type="http://schemas.openxmlformats.org/officeDocument/2006/relationships/slideLayout" Target="../slideLayouts/slideLayout7.xml"/><Relationship Id="rId1" Type="http://schemas.openxmlformats.org/officeDocument/2006/relationships/tags" Target="../tags/tag132.xml"/><Relationship Id="rId6" Type="http://schemas.openxmlformats.org/officeDocument/2006/relationships/chart" Target="../charts/chart314.xml"/><Relationship Id="rId5" Type="http://schemas.openxmlformats.org/officeDocument/2006/relationships/chart" Target="../charts/chart313.xml"/><Relationship Id="rId4" Type="http://schemas.openxmlformats.org/officeDocument/2006/relationships/image" Target="../media/image28.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18.xml"/><Relationship Id="rId2" Type="http://schemas.openxmlformats.org/officeDocument/2006/relationships/slideLayout" Target="../slideLayouts/slideLayout7.xml"/><Relationship Id="rId1" Type="http://schemas.openxmlformats.org/officeDocument/2006/relationships/tags" Target="../tags/tag133.xml"/><Relationship Id="rId6" Type="http://schemas.openxmlformats.org/officeDocument/2006/relationships/chart" Target="../charts/chart317.xml"/><Relationship Id="rId5" Type="http://schemas.openxmlformats.org/officeDocument/2006/relationships/chart" Target="../charts/chart316.xml"/><Relationship Id="rId4" Type="http://schemas.openxmlformats.org/officeDocument/2006/relationships/image" Target="../media/image28.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21.xml"/><Relationship Id="rId2" Type="http://schemas.openxmlformats.org/officeDocument/2006/relationships/slideLayout" Target="../slideLayouts/slideLayout7.xml"/><Relationship Id="rId1" Type="http://schemas.openxmlformats.org/officeDocument/2006/relationships/tags" Target="../tags/tag134.xml"/><Relationship Id="rId6" Type="http://schemas.openxmlformats.org/officeDocument/2006/relationships/chart" Target="../charts/chart320.xml"/><Relationship Id="rId5" Type="http://schemas.openxmlformats.org/officeDocument/2006/relationships/chart" Target="../charts/chart319.xml"/><Relationship Id="rId4" Type="http://schemas.openxmlformats.org/officeDocument/2006/relationships/image" Target="../media/image28.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24.xml"/><Relationship Id="rId2" Type="http://schemas.openxmlformats.org/officeDocument/2006/relationships/slideLayout" Target="../slideLayouts/slideLayout7.xml"/><Relationship Id="rId1" Type="http://schemas.openxmlformats.org/officeDocument/2006/relationships/tags" Target="../tags/tag135.xml"/><Relationship Id="rId6" Type="http://schemas.openxmlformats.org/officeDocument/2006/relationships/chart" Target="../charts/chart323.xml"/><Relationship Id="rId5" Type="http://schemas.openxmlformats.org/officeDocument/2006/relationships/chart" Target="../charts/chart322.xml"/><Relationship Id="rId4" Type="http://schemas.openxmlformats.org/officeDocument/2006/relationships/image" Target="../media/image28.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27.xml"/><Relationship Id="rId2" Type="http://schemas.openxmlformats.org/officeDocument/2006/relationships/slideLayout" Target="../slideLayouts/slideLayout7.xml"/><Relationship Id="rId1" Type="http://schemas.openxmlformats.org/officeDocument/2006/relationships/tags" Target="../tags/tag136.xml"/><Relationship Id="rId6" Type="http://schemas.openxmlformats.org/officeDocument/2006/relationships/chart" Target="../charts/chart326.xml"/><Relationship Id="rId5" Type="http://schemas.openxmlformats.org/officeDocument/2006/relationships/chart" Target="../charts/chart325.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1.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3.xml"/><Relationship Id="rId5" Type="http://schemas.openxmlformats.org/officeDocument/2006/relationships/chart" Target="../charts/chart8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6.xml"/><Relationship Id="rId5" Type="http://schemas.openxmlformats.org/officeDocument/2006/relationships/chart" Target="../charts/chart85.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3.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5.xml"/><Relationship Id="rId5" Type="http://schemas.openxmlformats.org/officeDocument/2006/relationships/chart" Target="../charts/chart9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9.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8.xml"/><Relationship Id="rId5" Type="http://schemas.openxmlformats.org/officeDocument/2006/relationships/chart" Target="../charts/chart9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01.xml"/><Relationship Id="rId5" Type="http://schemas.openxmlformats.org/officeDocument/2006/relationships/chart" Target="../charts/chart100.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7.xml"/><Relationship Id="rId5" Type="http://schemas.openxmlformats.org/officeDocument/2006/relationships/chart" Target="../charts/chart10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10.xml"/><Relationship Id="rId5" Type="http://schemas.openxmlformats.org/officeDocument/2006/relationships/chart" Target="../charts/chart10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4.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3.xml"/><Relationship Id="rId5" Type="http://schemas.openxmlformats.org/officeDocument/2006/relationships/chart" Target="../charts/chart11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6.xml"/><Relationship Id="rId5" Type="http://schemas.openxmlformats.org/officeDocument/2006/relationships/chart" Target="../charts/chart115.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9.xml"/><Relationship Id="rId5" Type="http://schemas.openxmlformats.org/officeDocument/2006/relationships/chart" Target="../charts/chart118.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3.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2.xml"/><Relationship Id="rId5" Type="http://schemas.openxmlformats.org/officeDocument/2006/relationships/chart" Target="../charts/chart12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6.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5.xml"/><Relationship Id="rId5" Type="http://schemas.openxmlformats.org/officeDocument/2006/relationships/chart" Target="../charts/chart124.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9.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8.xml"/><Relationship Id="rId5" Type="http://schemas.openxmlformats.org/officeDocument/2006/relationships/chart" Target="../charts/chart12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31.xml"/><Relationship Id="rId5" Type="http://schemas.openxmlformats.org/officeDocument/2006/relationships/chart" Target="../charts/chart130.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4.xml"/><Relationship Id="rId5" Type="http://schemas.openxmlformats.org/officeDocument/2006/relationships/chart" Target="../charts/chart133.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8.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7.xml"/><Relationship Id="rId5" Type="http://schemas.openxmlformats.org/officeDocument/2006/relationships/chart" Target="../charts/chart13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1.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40.xml"/><Relationship Id="rId5" Type="http://schemas.openxmlformats.org/officeDocument/2006/relationships/chart" Target="../charts/chart13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4.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3.xml"/><Relationship Id="rId5" Type="http://schemas.openxmlformats.org/officeDocument/2006/relationships/chart" Target="../charts/chart142.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7.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6.xml"/><Relationship Id="rId5" Type="http://schemas.openxmlformats.org/officeDocument/2006/relationships/chart" Target="../charts/chart145.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0.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9.xml"/><Relationship Id="rId5" Type="http://schemas.openxmlformats.org/officeDocument/2006/relationships/chart" Target="../charts/chart148.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3.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2.xml"/><Relationship Id="rId5" Type="http://schemas.openxmlformats.org/officeDocument/2006/relationships/chart" Target="../charts/chart1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6.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5.xml"/><Relationship Id="rId5" Type="http://schemas.openxmlformats.org/officeDocument/2006/relationships/chart" Target="../charts/chart154.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9.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8.xml"/><Relationship Id="rId5" Type="http://schemas.openxmlformats.org/officeDocument/2006/relationships/chart" Target="../charts/chart157.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2.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61.xml"/><Relationship Id="rId5" Type="http://schemas.openxmlformats.org/officeDocument/2006/relationships/chart" Target="../charts/chart160.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5.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4.xml"/><Relationship Id="rId5" Type="http://schemas.openxmlformats.org/officeDocument/2006/relationships/chart" Target="../charts/chart163.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8.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7.xml"/><Relationship Id="rId5" Type="http://schemas.openxmlformats.org/officeDocument/2006/relationships/chart" Target="../charts/chart16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1.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70.xml"/><Relationship Id="rId5" Type="http://schemas.openxmlformats.org/officeDocument/2006/relationships/chart" Target="../charts/chart169.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4.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3.xml"/><Relationship Id="rId5" Type="http://schemas.openxmlformats.org/officeDocument/2006/relationships/chart" Target="../charts/chart172.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7.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6.xml"/><Relationship Id="rId5" Type="http://schemas.openxmlformats.org/officeDocument/2006/relationships/chart" Target="../charts/chart17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0.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9.xml"/><Relationship Id="rId5" Type="http://schemas.openxmlformats.org/officeDocument/2006/relationships/chart" Target="../charts/chart178.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3.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2.xml"/><Relationship Id="rId5" Type="http://schemas.openxmlformats.org/officeDocument/2006/relationships/chart" Target="../charts/chart18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6.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5.xml"/><Relationship Id="rId5" Type="http://schemas.openxmlformats.org/officeDocument/2006/relationships/chart" Target="../charts/chart184.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9.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8.xml"/><Relationship Id="rId5" Type="http://schemas.openxmlformats.org/officeDocument/2006/relationships/chart" Target="../charts/chart187.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2.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91.xml"/><Relationship Id="rId5" Type="http://schemas.openxmlformats.org/officeDocument/2006/relationships/chart" Target="../charts/chart190.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5.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8.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7.xml"/><Relationship Id="rId5" Type="http://schemas.openxmlformats.org/officeDocument/2006/relationships/chart" Target="../charts/chart19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1.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200.xml"/><Relationship Id="rId5" Type="http://schemas.openxmlformats.org/officeDocument/2006/relationships/chart" Target="../charts/chart199.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4.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203.xml"/><Relationship Id="rId5" Type="http://schemas.openxmlformats.org/officeDocument/2006/relationships/chart" Target="../charts/chart202.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7.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206.xml"/><Relationship Id="rId5" Type="http://schemas.openxmlformats.org/officeDocument/2006/relationships/chart" Target="../charts/chart205.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0.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3.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212.xml"/><Relationship Id="rId5" Type="http://schemas.openxmlformats.org/officeDocument/2006/relationships/chart" Target="../charts/chart21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6.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215.xml"/><Relationship Id="rId5" Type="http://schemas.openxmlformats.org/officeDocument/2006/relationships/chart" Target="../charts/chart214.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9.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218.xml"/><Relationship Id="rId5" Type="http://schemas.openxmlformats.org/officeDocument/2006/relationships/chart" Target="../charts/chart217.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2.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221.xml"/><Relationship Id="rId5" Type="http://schemas.openxmlformats.org/officeDocument/2006/relationships/chart" Target="../charts/chart220.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5.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224.xml"/><Relationship Id="rId5" Type="http://schemas.openxmlformats.org/officeDocument/2006/relationships/chart" Target="../charts/chart223.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8.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227.xml"/><Relationship Id="rId5" Type="http://schemas.openxmlformats.org/officeDocument/2006/relationships/chart" Target="../charts/chart22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1.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230.xml"/><Relationship Id="rId5" Type="http://schemas.openxmlformats.org/officeDocument/2006/relationships/chart" Target="../charts/chart229.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4.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233.xml"/><Relationship Id="rId5" Type="http://schemas.openxmlformats.org/officeDocument/2006/relationships/chart" Target="../charts/chart232.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7.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236.xml"/><Relationship Id="rId5" Type="http://schemas.openxmlformats.org/officeDocument/2006/relationships/chart" Target="../charts/chart23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0.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239.xml"/><Relationship Id="rId5" Type="http://schemas.openxmlformats.org/officeDocument/2006/relationships/chart" Target="../charts/chart238.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3.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242.xml"/><Relationship Id="rId5" Type="http://schemas.openxmlformats.org/officeDocument/2006/relationships/chart" Target="../charts/chart24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6.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245.xml"/><Relationship Id="rId5" Type="http://schemas.openxmlformats.org/officeDocument/2006/relationships/chart" Target="../charts/chart244.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9.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248.xml"/><Relationship Id="rId5" Type="http://schemas.openxmlformats.org/officeDocument/2006/relationships/chart" Target="../charts/chart247.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2.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251.xml"/><Relationship Id="rId5" Type="http://schemas.openxmlformats.org/officeDocument/2006/relationships/chart" Target="../charts/chart250.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5.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254.xml"/><Relationship Id="rId5" Type="http://schemas.openxmlformats.org/officeDocument/2006/relationships/chart" Target="../charts/chart253.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8.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257.xml"/><Relationship Id="rId5" Type="http://schemas.openxmlformats.org/officeDocument/2006/relationships/chart" Target="../charts/chart25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1.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260.xml"/><Relationship Id="rId5" Type="http://schemas.openxmlformats.org/officeDocument/2006/relationships/chart" Target="../charts/chart259.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4.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263.xml"/><Relationship Id="rId5" Type="http://schemas.openxmlformats.org/officeDocument/2006/relationships/chart" Target="../charts/chart262.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7.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266.xml"/><Relationship Id="rId5" Type="http://schemas.openxmlformats.org/officeDocument/2006/relationships/chart" Target="../charts/chart265.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0.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269.xml"/><Relationship Id="rId5" Type="http://schemas.openxmlformats.org/officeDocument/2006/relationships/chart" Target="../charts/chart268.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3.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272.xml"/><Relationship Id="rId5" Type="http://schemas.openxmlformats.org/officeDocument/2006/relationships/chart" Target="../charts/chart27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6.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275.xml"/><Relationship Id="rId5" Type="http://schemas.openxmlformats.org/officeDocument/2006/relationships/chart" Target="../charts/chart274.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9.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278.xml"/><Relationship Id="rId5" Type="http://schemas.openxmlformats.org/officeDocument/2006/relationships/chart" Target="../charts/chart277.xml"/><Relationship Id="rId4" Type="http://schemas.openxmlformats.org/officeDocument/2006/relationships/image" Target="../media/image28.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2.xml"/><Relationship Id="rId2" Type="http://schemas.openxmlformats.org/officeDocument/2006/relationships/slideLayout" Target="../slideLayouts/slideLayout7.xml"/><Relationship Id="rId1" Type="http://schemas.openxmlformats.org/officeDocument/2006/relationships/tags" Target="../tags/tag121.xml"/><Relationship Id="rId6" Type="http://schemas.openxmlformats.org/officeDocument/2006/relationships/chart" Target="../charts/chart281.xml"/><Relationship Id="rId5" Type="http://schemas.openxmlformats.org/officeDocument/2006/relationships/chart" Target="../charts/chart280.xml"/><Relationship Id="rId4" Type="http://schemas.openxmlformats.org/officeDocument/2006/relationships/image" Target="../media/image28.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5.xml"/><Relationship Id="rId2" Type="http://schemas.openxmlformats.org/officeDocument/2006/relationships/slideLayout" Target="../slideLayouts/slideLayout7.xml"/><Relationship Id="rId1" Type="http://schemas.openxmlformats.org/officeDocument/2006/relationships/tags" Target="../tags/tag122.xml"/><Relationship Id="rId6" Type="http://schemas.openxmlformats.org/officeDocument/2006/relationships/chart" Target="../charts/chart284.xml"/><Relationship Id="rId5" Type="http://schemas.openxmlformats.org/officeDocument/2006/relationships/chart" Target="../charts/chart283.xml"/><Relationship Id="rId4" Type="http://schemas.openxmlformats.org/officeDocument/2006/relationships/image" Target="../media/image28.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88.xml"/><Relationship Id="rId2" Type="http://schemas.openxmlformats.org/officeDocument/2006/relationships/slideLayout" Target="../slideLayouts/slideLayout7.xml"/><Relationship Id="rId1" Type="http://schemas.openxmlformats.org/officeDocument/2006/relationships/tags" Target="../tags/tag123.xml"/><Relationship Id="rId6" Type="http://schemas.openxmlformats.org/officeDocument/2006/relationships/chart" Target="../charts/chart287.xml"/><Relationship Id="rId5" Type="http://schemas.openxmlformats.org/officeDocument/2006/relationships/chart" Target="../charts/chart286.xml"/><Relationship Id="rId4" Type="http://schemas.openxmlformats.org/officeDocument/2006/relationships/image" Target="../media/image28.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91.xml"/><Relationship Id="rId2" Type="http://schemas.openxmlformats.org/officeDocument/2006/relationships/slideLayout" Target="../slideLayouts/slideLayout7.xml"/><Relationship Id="rId1" Type="http://schemas.openxmlformats.org/officeDocument/2006/relationships/tags" Target="../tags/tag124.xml"/><Relationship Id="rId6" Type="http://schemas.openxmlformats.org/officeDocument/2006/relationships/chart" Target="../charts/chart290.xml"/><Relationship Id="rId5" Type="http://schemas.openxmlformats.org/officeDocument/2006/relationships/chart" Target="../charts/chart289.xml"/><Relationship Id="rId4" Type="http://schemas.openxmlformats.org/officeDocument/2006/relationships/image" Target="../media/image28.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94.xml"/><Relationship Id="rId2" Type="http://schemas.openxmlformats.org/officeDocument/2006/relationships/slideLayout" Target="../slideLayouts/slideLayout7.xml"/><Relationship Id="rId1" Type="http://schemas.openxmlformats.org/officeDocument/2006/relationships/tags" Target="../tags/tag125.xml"/><Relationship Id="rId6" Type="http://schemas.openxmlformats.org/officeDocument/2006/relationships/chart" Target="../charts/chart293.xml"/><Relationship Id="rId5" Type="http://schemas.openxmlformats.org/officeDocument/2006/relationships/chart" Target="../charts/chart292.xml"/><Relationship Id="rId4" Type="http://schemas.openxmlformats.org/officeDocument/2006/relationships/image" Target="../media/image28.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97.xml"/><Relationship Id="rId2" Type="http://schemas.openxmlformats.org/officeDocument/2006/relationships/slideLayout" Target="../slideLayouts/slideLayout7.xml"/><Relationship Id="rId1" Type="http://schemas.openxmlformats.org/officeDocument/2006/relationships/tags" Target="../tags/tag126.xml"/><Relationship Id="rId6" Type="http://schemas.openxmlformats.org/officeDocument/2006/relationships/chart" Target="../charts/chart296.xml"/><Relationship Id="rId5" Type="http://schemas.openxmlformats.org/officeDocument/2006/relationships/chart" Target="../charts/chart295.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Manual Shave Me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0521124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Razor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56292514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ensitive Skin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63602993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ensitive Ski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56804683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ensitive Ski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9092377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Dry Sk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04067524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Dry Ski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5195980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Rem Type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42970450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Rem Type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33138972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Rem Types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82893082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Rem Type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96827078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Rem Type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7181313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Refill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4285436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Refill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574167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1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0914798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2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8699345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2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2403170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3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6934454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3 Blade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9291521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3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2516373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4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6368466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Manual Shave Men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2977212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5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9360903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5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1708679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Rem Blade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9549663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Rem Blades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0011419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Normal Sk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40654229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Normal Ski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4959176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ensitive Sk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40551146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ensitive Skin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5144392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ensitive Ski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4911518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Dry Sk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8183891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Manual Shave Me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7431920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Dry Ski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3650328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Rem Type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2920237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Rem Types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6443672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Manual Shave Me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5609964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Manual Shave Me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222709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Manual Shave Me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4721452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Manual Shave Men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18733409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Manual Shave Men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35911347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Manual Shave Me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3099823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Manual Shave Me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8148641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ystem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2497830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Manual Shave Me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56843226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ystem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0791810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ystem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19244399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ystem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44386548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ystem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75020914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ystem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45763475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ystem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59118061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ystem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25983878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Disposable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46415258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Disposable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9479115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ystem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53161936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Disposables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85632982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Disposable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4110333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Disposable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8376526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Razor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51100096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Razor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66855604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Razor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80829131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Razors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28649438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Razor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4430142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Razor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15876687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Razor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6599938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Disposable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408351236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Refill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84210994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Refill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417944319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Refill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65239402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Refill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32585761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Refill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64514450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Refill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61825902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1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27870952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1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88528291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2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06620039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2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1778195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Disposables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7642168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2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0028804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2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8028271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3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93894721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3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3461194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3 Blade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51467043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3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97861281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3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77723319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4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72324997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4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91247993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4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6970457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Disposable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29044032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4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6907149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5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31891314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5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84248081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5 Blad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49359656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5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38908556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5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78080655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5 Blade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97397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Rem Blade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14765079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Rem Blade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06714715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Rem Blades | Bj's And Sam'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40090297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Razors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dgewell Personal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14003271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Rem Blade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68039405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Rem Blades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29303137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Normal Sk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194945432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Normal Sk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16219530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Normal Sk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0443351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Normal Ski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14106738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Normal Ski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359920577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Normal Skin | Walmart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Cremo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52620785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ensitive Sk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Schick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6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9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407463514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ensitive Ski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90"/>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Equat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60591">
                <a:tc>
                  <a:txBody>
                    <a:bodyPr/>
                    <a:lstStyle/>
                    <a:p>
                      <a:pPr algn="ctr">
                        <a:defRPr sz="800">
                          <a:latin typeface="Nexa Bold"/>
                        </a:defRPr>
                      </a:pPr>
                      <a:r>
                        <a:t>1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60591">
                <a:tc>
                  <a:txBody>
                    <a:bodyPr/>
                    <a:lstStyle/>
                    <a:p>
                      <a:pPr algn="ctr">
                        <a:defRPr sz="800">
                          <a:latin typeface="Nexa Bold"/>
                        </a:defRPr>
                      </a:pPr>
                      <a:r>
                        <a:t>12-14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60591">
                <a:tc>
                  <a:txBody>
                    <a:bodyPr/>
                    <a:lstStyle/>
                    <a:p>
                      <a:pPr algn="ctr">
                        <a:defRPr sz="800">
                          <a:latin typeface="Nexa Bold"/>
                        </a:defRPr>
                      </a:pPr>
                      <a:r>
                        <a:t>9-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60591">
                <a:tc>
                  <a:txBody>
                    <a:bodyPr/>
                    <a:lstStyle/>
                    <a:p>
                      <a:pPr algn="ctr">
                        <a:defRPr sz="800">
                          <a:latin typeface="Nexa Bold"/>
                        </a:defRPr>
                      </a:pPr>
                      <a:r>
                        <a:t>6-8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60591">
                <a:tc>
                  <a:txBody>
                    <a:bodyPr/>
                    <a:lstStyle/>
                    <a:p>
                      <a:pPr algn="ctr">
                        <a:defRPr sz="800">
                          <a:latin typeface="Nexa Bold"/>
                        </a:defRPr>
                      </a:pPr>
                      <a:r>
                        <a:t>3-5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60591">
                <a:tc>
                  <a:txBody>
                    <a:bodyPr/>
                    <a:lstStyle/>
                    <a:p>
                      <a:pPr algn="ctr">
                        <a:defRPr sz="800">
                          <a:latin typeface="Nexa Bold"/>
                        </a:defRPr>
                      </a:pPr>
                      <a:r>
                        <a:t>2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60591">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8/6/2025</a:t>
            </a:fld>
            <a:endParaRPr lang="en-US" sz="500"/>
          </a:p>
        </p:txBody>
      </p:sp>
    </p:spTree>
    <p:extLst>
      <p:ext uri="{BB962C8B-B14F-4D97-AF65-F5344CB8AC3E}">
        <p14:creationId xmlns:p14="http://schemas.microsoft.com/office/powerpoint/2010/main" val="20077646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8531</Words>
  <Application>Microsoft Office PowerPoint</Application>
  <PresentationFormat>On-screen Show (16:9)</PresentationFormat>
  <Paragraphs>2991</Paragraphs>
  <Slides>109</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09</vt:i4>
      </vt:variant>
    </vt:vector>
  </HeadingPairs>
  <TitlesOfParts>
    <vt:vector size="118" baseType="lpstr">
      <vt:lpstr>Aptos</vt:lpstr>
      <vt:lpstr>Arial</vt:lpstr>
      <vt:lpstr>Nexa</vt:lpstr>
      <vt:lpstr>Nexa Bold</vt:lpstr>
      <vt:lpstr>Nexa Book</vt:lpstr>
      <vt:lpstr>Nexa Book Italic</vt:lpstr>
      <vt:lpstr>Open Sans</vt:lpstr>
      <vt:lpstr>1_PricingOne Light Template Oct 2024</vt:lpstr>
      <vt:lpstr>think-cell Slide</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Yomna ABDULLATIF</cp:lastModifiedBy>
  <cp:revision>77</cp:revision>
  <dcterms:created xsi:type="dcterms:W3CDTF">2024-07-05T11:30:58Z</dcterms:created>
  <dcterms:modified xsi:type="dcterms:W3CDTF">2025-08-06T10:06: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